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notesSlides/notesSlide7.xml" ContentType="application/vnd.openxmlformats-officedocument.presentationml.notesSlide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saveSubsetFonts="1" autoCompressPictures="0">
  <p:sldMasterIdLst>
    <p:sldMasterId id="2147483648" r:id="rId1"/>
    <p:sldMasterId id="2147483661" r:id="rId2"/>
  </p:sldMasterIdLst>
  <p:notesMasterIdLst>
    <p:notesMasterId r:id="rId19"/>
  </p:notesMasterIdLst>
  <p:handoutMasterIdLst>
    <p:handoutMasterId r:id="rId20"/>
  </p:handoutMasterIdLst>
  <p:sldIdLst>
    <p:sldId id="402" r:id="rId3"/>
    <p:sldId id="933" r:id="rId4"/>
    <p:sldId id="939" r:id="rId5"/>
    <p:sldId id="1072" r:id="rId6"/>
    <p:sldId id="1071" r:id="rId7"/>
    <p:sldId id="936" r:id="rId8"/>
    <p:sldId id="940" r:id="rId9"/>
    <p:sldId id="938" r:id="rId10"/>
    <p:sldId id="941" r:id="rId11"/>
    <p:sldId id="1073" r:id="rId12"/>
    <p:sldId id="942" r:id="rId13"/>
    <p:sldId id="943" r:id="rId14"/>
    <p:sldId id="944" r:id="rId15"/>
    <p:sldId id="945" r:id="rId16"/>
    <p:sldId id="946" r:id="rId17"/>
    <p:sldId id="947" r:id="rId18"/>
  </p:sldIdLst>
  <p:sldSz cx="9144000" cy="6858000" type="screen4x3"/>
  <p:notesSz cx="6858000" cy="9661525"/>
  <p:custShowLst>
    <p:custShow name="Mustermann1" id="0">
      <p:sldLst/>
    </p:custShow>
  </p:custShowLst>
  <p:defaultTextStyle>
    <a:defPPr>
      <a:defRPr lang="en-US"/>
    </a:defPPr>
    <a:lvl1pPr algn="ctr" rtl="0" eaLnBrk="0" fontAlgn="base" hangingPunct="0">
      <a:spcBef>
        <a:spcPct val="0"/>
      </a:spcBef>
      <a:spcAft>
        <a:spcPct val="0"/>
      </a:spcAft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1pPr>
    <a:lvl2pPr marL="457200" algn="ctr" rtl="0" eaLnBrk="0" fontAlgn="base" hangingPunct="0">
      <a:spcBef>
        <a:spcPct val="0"/>
      </a:spcBef>
      <a:spcAft>
        <a:spcPct val="0"/>
      </a:spcAft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2pPr>
    <a:lvl3pPr marL="914400" algn="ctr" rtl="0" eaLnBrk="0" fontAlgn="base" hangingPunct="0">
      <a:spcBef>
        <a:spcPct val="0"/>
      </a:spcBef>
      <a:spcAft>
        <a:spcPct val="0"/>
      </a:spcAft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3pPr>
    <a:lvl4pPr marL="1371600" algn="ctr" rtl="0" eaLnBrk="0" fontAlgn="base" hangingPunct="0">
      <a:spcBef>
        <a:spcPct val="0"/>
      </a:spcBef>
      <a:spcAft>
        <a:spcPct val="0"/>
      </a:spcAft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4pPr>
    <a:lvl5pPr marL="1828800" algn="ctr" rtl="0" eaLnBrk="0" fontAlgn="base" hangingPunct="0">
      <a:spcBef>
        <a:spcPct val="0"/>
      </a:spcBef>
      <a:spcAft>
        <a:spcPct val="0"/>
      </a:spcAft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5pPr>
    <a:lvl6pPr marL="2286000" algn="l" defTabSz="457200" rtl="0" eaLnBrk="1" latinLnBrk="0" hangingPunct="1"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6pPr>
    <a:lvl7pPr marL="2743200" algn="l" defTabSz="457200" rtl="0" eaLnBrk="1" latinLnBrk="0" hangingPunct="1"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7pPr>
    <a:lvl8pPr marL="3200400" algn="l" defTabSz="457200" rtl="0" eaLnBrk="1" latinLnBrk="0" hangingPunct="1"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8pPr>
    <a:lvl9pPr marL="3657600" algn="l" defTabSz="457200" rtl="0" eaLnBrk="1" latinLnBrk="0" hangingPunct="1"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19">
          <p15:clr>
            <a:srgbClr val="A4A3A4"/>
          </p15:clr>
        </p15:guide>
        <p15:guide id="2" orient="horz" pos="3867">
          <p15:clr>
            <a:srgbClr val="A4A3A4"/>
          </p15:clr>
        </p15:guide>
        <p15:guide id="3" orient="horz" pos="801">
          <p15:clr>
            <a:srgbClr val="A4A3A4"/>
          </p15:clr>
        </p15:guide>
        <p15:guide id="4" orient="horz" pos="534">
          <p15:clr>
            <a:srgbClr val="A4A3A4"/>
          </p15:clr>
        </p15:guide>
        <p15:guide id="5" orient="horz" pos="703">
          <p15:clr>
            <a:srgbClr val="A4A3A4"/>
          </p15:clr>
        </p15:guide>
        <p15:guide id="6" orient="horz" pos="4121">
          <p15:clr>
            <a:srgbClr val="A4A3A4"/>
          </p15:clr>
        </p15:guide>
        <p15:guide id="7" orient="horz" pos="702">
          <p15:clr>
            <a:srgbClr val="A4A3A4"/>
          </p15:clr>
        </p15:guide>
        <p15:guide id="8" orient="horz" pos="1092">
          <p15:clr>
            <a:srgbClr val="A4A3A4"/>
          </p15:clr>
        </p15:guide>
        <p15:guide id="9" pos="5447">
          <p15:clr>
            <a:srgbClr val="A4A3A4"/>
          </p15:clr>
        </p15:guide>
        <p15:guide id="10" pos="2955">
          <p15:clr>
            <a:srgbClr val="A4A3A4"/>
          </p15:clr>
        </p15:guide>
        <p15:guide id="11" pos="367">
          <p15:clr>
            <a:srgbClr val="A4A3A4"/>
          </p15:clr>
        </p15:guide>
        <p15:guide id="12" pos="1394">
          <p15:clr>
            <a:srgbClr val="A4A3A4"/>
          </p15:clr>
        </p15:guide>
        <p15:guide id="13" pos="1303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043" userDrawn="1">
          <p15:clr>
            <a:srgbClr val="A4A3A4"/>
          </p15:clr>
        </p15:guide>
        <p15:guide id="2" pos="2160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loop="1"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00377D"/>
    <a:srgbClr val="FF3300"/>
    <a:srgbClr val="800000"/>
    <a:srgbClr val="990000"/>
    <a:srgbClr val="CC0000"/>
    <a:srgbClr val="FFCC00"/>
    <a:srgbClr val="005EAD"/>
    <a:srgbClr val="002F5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9851" autoAdjust="0"/>
    <p:restoredTop sz="95388" autoAdjust="0"/>
  </p:normalViewPr>
  <p:slideViewPr>
    <p:cSldViewPr snapToGrid="0" showGuides="1">
      <p:cViewPr varScale="1">
        <p:scale>
          <a:sx n="112" d="100"/>
          <a:sy n="112" d="100"/>
        </p:scale>
        <p:origin x="1182" y="96"/>
      </p:cViewPr>
      <p:guideLst>
        <p:guide orient="horz" pos="119"/>
        <p:guide orient="horz" pos="3867"/>
        <p:guide orient="horz" pos="801"/>
        <p:guide orient="horz" pos="534"/>
        <p:guide orient="horz" pos="703"/>
        <p:guide orient="horz" pos="4121"/>
        <p:guide orient="horz" pos="702"/>
        <p:guide orient="horz" pos="1092"/>
        <p:guide pos="5447"/>
        <p:guide pos="2955"/>
        <p:guide pos="367"/>
        <p:guide pos="1394"/>
        <p:guide pos="1303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121" d="100"/>
          <a:sy n="121" d="100"/>
        </p:scale>
        <p:origin x="-312" y="-112"/>
      </p:cViewPr>
      <p:guideLst>
        <p:guide orient="horz" pos="3043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3" Type="http://schemas.openxmlformats.org/officeDocument/2006/relationships/slide" Target="slides/slide1.xml"/><Relationship Id="rId21" Type="http://schemas.openxmlformats.org/officeDocument/2006/relationships/presProps" Target="presProp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microsoft.com/office/2016/11/relationships/changesInfo" Target="changesInfos/changesInfo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tableStyles" Target="tableStyle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theme" Target="theme/theme1.xml"/><Relationship Id="rId10" Type="http://schemas.openxmlformats.org/officeDocument/2006/relationships/slide" Target="slides/slide8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ascha Plate" userId="ed8ff092-8995-4993-845b-21c8a164b889" providerId="ADAL" clId="{8EC2DDE8-55CA-4417-BE68-FC755CA52417}"/>
    <pc:docChg chg="undo custSel modSld">
      <pc:chgData name="Sascha Plate" userId="ed8ff092-8995-4993-845b-21c8a164b889" providerId="ADAL" clId="{8EC2DDE8-55CA-4417-BE68-FC755CA52417}" dt="2021-11-08T16:09:28.131" v="487" actId="20577"/>
      <pc:docMkLst>
        <pc:docMk/>
      </pc:docMkLst>
      <pc:sldChg chg="modSp mod">
        <pc:chgData name="Sascha Plate" userId="ed8ff092-8995-4993-845b-21c8a164b889" providerId="ADAL" clId="{8EC2DDE8-55CA-4417-BE68-FC755CA52417}" dt="2021-11-08T16:09:28.131" v="487" actId="20577"/>
        <pc:sldMkLst>
          <pc:docMk/>
          <pc:sldMk cId="0" sldId="402"/>
        </pc:sldMkLst>
        <pc:spChg chg="mod">
          <ac:chgData name="Sascha Plate" userId="ed8ff092-8995-4993-845b-21c8a164b889" providerId="ADAL" clId="{8EC2DDE8-55CA-4417-BE68-FC755CA52417}" dt="2021-11-08T16:09:28.131" v="487" actId="20577"/>
          <ac:spMkLst>
            <pc:docMk/>
            <pc:sldMk cId="0" sldId="402"/>
            <ac:spMk id="3" creationId="{00000000-0000-0000-0000-000000000000}"/>
          </ac:spMkLst>
        </pc:spChg>
      </pc:sldChg>
      <pc:sldChg chg="modSp mod">
        <pc:chgData name="Sascha Plate" userId="ed8ff092-8995-4993-845b-21c8a164b889" providerId="ADAL" clId="{8EC2DDE8-55CA-4417-BE68-FC755CA52417}" dt="2021-11-08T14:02:21.807" v="419" actId="20577"/>
        <pc:sldMkLst>
          <pc:docMk/>
          <pc:sldMk cId="889590670" sldId="933"/>
        </pc:sldMkLst>
        <pc:spChg chg="mod">
          <ac:chgData name="Sascha Plate" userId="ed8ff092-8995-4993-845b-21c8a164b889" providerId="ADAL" clId="{8EC2DDE8-55CA-4417-BE68-FC755CA52417}" dt="2021-11-08T14:02:21.807" v="419" actId="20577"/>
          <ac:spMkLst>
            <pc:docMk/>
            <pc:sldMk cId="889590670" sldId="933"/>
            <ac:spMk id="9" creationId="{00000000-0000-0000-0000-000000000000}"/>
          </ac:spMkLst>
        </pc:spChg>
      </pc:sldChg>
      <pc:sldChg chg="modSp mod">
        <pc:chgData name="Sascha Plate" userId="ed8ff092-8995-4993-845b-21c8a164b889" providerId="ADAL" clId="{8EC2DDE8-55CA-4417-BE68-FC755CA52417}" dt="2021-11-08T14:27:14.115" v="448" actId="20577"/>
        <pc:sldMkLst>
          <pc:docMk/>
          <pc:sldMk cId="1236502503" sldId="936"/>
        </pc:sldMkLst>
        <pc:spChg chg="mod">
          <ac:chgData name="Sascha Plate" userId="ed8ff092-8995-4993-845b-21c8a164b889" providerId="ADAL" clId="{8EC2DDE8-55CA-4417-BE68-FC755CA52417}" dt="2021-11-08T14:27:14.115" v="448" actId="20577"/>
          <ac:spMkLst>
            <pc:docMk/>
            <pc:sldMk cId="1236502503" sldId="936"/>
            <ac:spMk id="6" creationId="{00000000-0000-0000-0000-000000000000}"/>
          </ac:spMkLst>
        </pc:spChg>
        <pc:spChg chg="mod">
          <ac:chgData name="Sascha Plate" userId="ed8ff092-8995-4993-845b-21c8a164b889" providerId="ADAL" clId="{8EC2DDE8-55CA-4417-BE68-FC755CA52417}" dt="2021-11-08T14:03:04.223" v="423"/>
          <ac:spMkLst>
            <pc:docMk/>
            <pc:sldMk cId="1236502503" sldId="936"/>
            <ac:spMk id="7" creationId="{00000000-0000-0000-0000-000000000000}"/>
          </ac:spMkLst>
        </pc:spChg>
      </pc:sldChg>
      <pc:sldChg chg="modSp mod">
        <pc:chgData name="Sascha Plate" userId="ed8ff092-8995-4993-845b-21c8a164b889" providerId="ADAL" clId="{8EC2DDE8-55CA-4417-BE68-FC755CA52417}" dt="2021-11-08T14:03:12.343" v="425"/>
        <pc:sldMkLst>
          <pc:docMk/>
          <pc:sldMk cId="4265109478" sldId="938"/>
        </pc:sldMkLst>
        <pc:spChg chg="mod">
          <ac:chgData name="Sascha Plate" userId="ed8ff092-8995-4993-845b-21c8a164b889" providerId="ADAL" clId="{8EC2DDE8-55CA-4417-BE68-FC755CA52417}" dt="2021-11-08T14:03:12.343" v="425"/>
          <ac:spMkLst>
            <pc:docMk/>
            <pc:sldMk cId="4265109478" sldId="938"/>
            <ac:spMk id="9" creationId="{00000000-0000-0000-0000-000000000000}"/>
          </ac:spMkLst>
        </pc:spChg>
      </pc:sldChg>
      <pc:sldChg chg="modSp mod">
        <pc:chgData name="Sascha Plate" userId="ed8ff092-8995-4993-845b-21c8a164b889" providerId="ADAL" clId="{8EC2DDE8-55CA-4417-BE68-FC755CA52417}" dt="2021-11-08T14:18:02.088" v="438" actId="20577"/>
        <pc:sldMkLst>
          <pc:docMk/>
          <pc:sldMk cId="3574863733" sldId="939"/>
        </pc:sldMkLst>
        <pc:spChg chg="mod">
          <ac:chgData name="Sascha Plate" userId="ed8ff092-8995-4993-845b-21c8a164b889" providerId="ADAL" clId="{8EC2DDE8-55CA-4417-BE68-FC755CA52417}" dt="2021-11-08T14:02:47.095" v="420"/>
          <ac:spMkLst>
            <pc:docMk/>
            <pc:sldMk cId="3574863733" sldId="939"/>
            <ac:spMk id="9" creationId="{00000000-0000-0000-0000-000000000000}"/>
          </ac:spMkLst>
        </pc:spChg>
        <pc:spChg chg="mod">
          <ac:chgData name="Sascha Plate" userId="ed8ff092-8995-4993-845b-21c8a164b889" providerId="ADAL" clId="{8EC2DDE8-55CA-4417-BE68-FC755CA52417}" dt="2021-11-08T14:18:02.088" v="438" actId="20577"/>
          <ac:spMkLst>
            <pc:docMk/>
            <pc:sldMk cId="3574863733" sldId="939"/>
            <ac:spMk id="11" creationId="{0A9D4812-C3AB-4CA8-9030-61C9F0D731C4}"/>
          </ac:spMkLst>
        </pc:spChg>
      </pc:sldChg>
      <pc:sldChg chg="modSp mod">
        <pc:chgData name="Sascha Plate" userId="ed8ff092-8995-4993-845b-21c8a164b889" providerId="ADAL" clId="{8EC2DDE8-55CA-4417-BE68-FC755CA52417}" dt="2021-11-08T14:03:07.770" v="424"/>
        <pc:sldMkLst>
          <pc:docMk/>
          <pc:sldMk cId="163560966" sldId="940"/>
        </pc:sldMkLst>
        <pc:spChg chg="mod">
          <ac:chgData name="Sascha Plate" userId="ed8ff092-8995-4993-845b-21c8a164b889" providerId="ADAL" clId="{8EC2DDE8-55CA-4417-BE68-FC755CA52417}" dt="2021-11-08T14:03:07.770" v="424"/>
          <ac:spMkLst>
            <pc:docMk/>
            <pc:sldMk cId="163560966" sldId="940"/>
            <ac:spMk id="9" creationId="{00000000-0000-0000-0000-000000000000}"/>
          </ac:spMkLst>
        </pc:spChg>
      </pc:sldChg>
      <pc:sldChg chg="modSp mod">
        <pc:chgData name="Sascha Plate" userId="ed8ff092-8995-4993-845b-21c8a164b889" providerId="ADAL" clId="{8EC2DDE8-55CA-4417-BE68-FC755CA52417}" dt="2021-11-08T14:03:15.561" v="426"/>
        <pc:sldMkLst>
          <pc:docMk/>
          <pc:sldMk cId="3444201860" sldId="941"/>
        </pc:sldMkLst>
        <pc:spChg chg="mod">
          <ac:chgData name="Sascha Plate" userId="ed8ff092-8995-4993-845b-21c8a164b889" providerId="ADAL" clId="{8EC2DDE8-55CA-4417-BE68-FC755CA52417}" dt="2021-11-08T14:03:15.561" v="426"/>
          <ac:spMkLst>
            <pc:docMk/>
            <pc:sldMk cId="3444201860" sldId="941"/>
            <ac:spMk id="9" creationId="{00000000-0000-0000-0000-000000000000}"/>
          </ac:spMkLst>
        </pc:spChg>
        <pc:graphicFrameChg chg="modGraphic">
          <ac:chgData name="Sascha Plate" userId="ed8ff092-8995-4993-845b-21c8a164b889" providerId="ADAL" clId="{8EC2DDE8-55CA-4417-BE68-FC755CA52417}" dt="2021-11-08T13:53:30.831" v="334" actId="2"/>
          <ac:graphicFrameMkLst>
            <pc:docMk/>
            <pc:sldMk cId="3444201860" sldId="941"/>
            <ac:graphicFrameMk id="4" creationId="{00000000-0000-0000-0000-000000000000}"/>
          </ac:graphicFrameMkLst>
        </pc:graphicFrameChg>
      </pc:sldChg>
      <pc:sldChg chg="modSp mod">
        <pc:chgData name="Sascha Plate" userId="ed8ff092-8995-4993-845b-21c8a164b889" providerId="ADAL" clId="{8EC2DDE8-55CA-4417-BE68-FC755CA52417}" dt="2021-11-08T14:03:26.117" v="428"/>
        <pc:sldMkLst>
          <pc:docMk/>
          <pc:sldMk cId="3904258734" sldId="942"/>
        </pc:sldMkLst>
        <pc:spChg chg="mod">
          <ac:chgData name="Sascha Plate" userId="ed8ff092-8995-4993-845b-21c8a164b889" providerId="ADAL" clId="{8EC2DDE8-55CA-4417-BE68-FC755CA52417}" dt="2021-11-08T14:03:26.117" v="428"/>
          <ac:spMkLst>
            <pc:docMk/>
            <pc:sldMk cId="3904258734" sldId="942"/>
            <ac:spMk id="9" creationId="{00000000-0000-0000-0000-000000000000}"/>
          </ac:spMkLst>
        </pc:spChg>
        <pc:graphicFrameChg chg="mod modGraphic">
          <ac:chgData name="Sascha Plate" userId="ed8ff092-8995-4993-845b-21c8a164b889" providerId="ADAL" clId="{8EC2DDE8-55CA-4417-BE68-FC755CA52417}" dt="2021-11-08T13:40:23.700" v="47"/>
          <ac:graphicFrameMkLst>
            <pc:docMk/>
            <pc:sldMk cId="3904258734" sldId="942"/>
            <ac:graphicFrameMk id="4" creationId="{00000000-0000-0000-0000-000000000000}"/>
          </ac:graphicFrameMkLst>
        </pc:graphicFrameChg>
      </pc:sldChg>
      <pc:sldChg chg="modSp mod">
        <pc:chgData name="Sascha Plate" userId="ed8ff092-8995-4993-845b-21c8a164b889" providerId="ADAL" clId="{8EC2DDE8-55CA-4417-BE68-FC755CA52417}" dt="2021-11-08T14:03:29.540" v="429"/>
        <pc:sldMkLst>
          <pc:docMk/>
          <pc:sldMk cId="386723065" sldId="943"/>
        </pc:sldMkLst>
        <pc:spChg chg="mod">
          <ac:chgData name="Sascha Plate" userId="ed8ff092-8995-4993-845b-21c8a164b889" providerId="ADAL" clId="{8EC2DDE8-55CA-4417-BE68-FC755CA52417}" dt="2021-11-08T14:03:29.540" v="429"/>
          <ac:spMkLst>
            <pc:docMk/>
            <pc:sldMk cId="386723065" sldId="943"/>
            <ac:spMk id="9" creationId="{00000000-0000-0000-0000-000000000000}"/>
          </ac:spMkLst>
        </pc:spChg>
      </pc:sldChg>
      <pc:sldChg chg="modSp mod">
        <pc:chgData name="Sascha Plate" userId="ed8ff092-8995-4993-845b-21c8a164b889" providerId="ADAL" clId="{8EC2DDE8-55CA-4417-BE68-FC755CA52417}" dt="2021-11-08T14:31:14.329" v="454" actId="20577"/>
        <pc:sldMkLst>
          <pc:docMk/>
          <pc:sldMk cId="253587772" sldId="944"/>
        </pc:sldMkLst>
        <pc:spChg chg="mod">
          <ac:chgData name="Sascha Plate" userId="ed8ff092-8995-4993-845b-21c8a164b889" providerId="ADAL" clId="{8EC2DDE8-55CA-4417-BE68-FC755CA52417}" dt="2021-11-08T14:03:32.708" v="430"/>
          <ac:spMkLst>
            <pc:docMk/>
            <pc:sldMk cId="253587772" sldId="944"/>
            <ac:spMk id="9" creationId="{00000000-0000-0000-0000-000000000000}"/>
          </ac:spMkLst>
        </pc:spChg>
        <pc:graphicFrameChg chg="modGraphic">
          <ac:chgData name="Sascha Plate" userId="ed8ff092-8995-4993-845b-21c8a164b889" providerId="ADAL" clId="{8EC2DDE8-55CA-4417-BE68-FC755CA52417}" dt="2021-11-08T14:31:14.329" v="454" actId="20577"/>
          <ac:graphicFrameMkLst>
            <pc:docMk/>
            <pc:sldMk cId="253587772" sldId="944"/>
            <ac:graphicFrameMk id="35" creationId="{00000000-0000-0000-0000-000000000000}"/>
          </ac:graphicFrameMkLst>
        </pc:graphicFrameChg>
      </pc:sldChg>
      <pc:sldChg chg="modSp mod">
        <pc:chgData name="Sascha Plate" userId="ed8ff092-8995-4993-845b-21c8a164b889" providerId="ADAL" clId="{8EC2DDE8-55CA-4417-BE68-FC755CA52417}" dt="2021-11-08T14:43:41.729" v="459" actId="20577"/>
        <pc:sldMkLst>
          <pc:docMk/>
          <pc:sldMk cId="2967974404" sldId="945"/>
        </pc:sldMkLst>
        <pc:spChg chg="mod">
          <ac:chgData name="Sascha Plate" userId="ed8ff092-8995-4993-845b-21c8a164b889" providerId="ADAL" clId="{8EC2DDE8-55CA-4417-BE68-FC755CA52417}" dt="2021-11-08T14:03:37.382" v="431"/>
          <ac:spMkLst>
            <pc:docMk/>
            <pc:sldMk cId="2967974404" sldId="945"/>
            <ac:spMk id="9" creationId="{00000000-0000-0000-0000-000000000000}"/>
          </ac:spMkLst>
        </pc:spChg>
        <pc:spChg chg="mod">
          <ac:chgData name="Sascha Plate" userId="ed8ff092-8995-4993-845b-21c8a164b889" providerId="ADAL" clId="{8EC2DDE8-55CA-4417-BE68-FC755CA52417}" dt="2021-11-08T14:43:41.729" v="459" actId="20577"/>
          <ac:spMkLst>
            <pc:docMk/>
            <pc:sldMk cId="2967974404" sldId="945"/>
            <ac:spMk id="13" creationId="{0A9D4812-C3AB-4CA8-9030-61C9F0D731C4}"/>
          </ac:spMkLst>
        </pc:spChg>
      </pc:sldChg>
      <pc:sldChg chg="modSp mod">
        <pc:chgData name="Sascha Plate" userId="ed8ff092-8995-4993-845b-21c8a164b889" providerId="ADAL" clId="{8EC2DDE8-55CA-4417-BE68-FC755CA52417}" dt="2021-11-08T14:03:41.394" v="432"/>
        <pc:sldMkLst>
          <pc:docMk/>
          <pc:sldMk cId="3050947903" sldId="946"/>
        </pc:sldMkLst>
        <pc:spChg chg="mod">
          <ac:chgData name="Sascha Plate" userId="ed8ff092-8995-4993-845b-21c8a164b889" providerId="ADAL" clId="{8EC2DDE8-55CA-4417-BE68-FC755CA52417}" dt="2021-11-08T14:03:41.394" v="432"/>
          <ac:spMkLst>
            <pc:docMk/>
            <pc:sldMk cId="3050947903" sldId="946"/>
            <ac:spMk id="9" creationId="{00000000-0000-0000-0000-000000000000}"/>
          </ac:spMkLst>
        </pc:spChg>
      </pc:sldChg>
      <pc:sldChg chg="modSp mod">
        <pc:chgData name="Sascha Plate" userId="ed8ff092-8995-4993-845b-21c8a164b889" providerId="ADAL" clId="{8EC2DDE8-55CA-4417-BE68-FC755CA52417}" dt="2021-11-08T14:03:45.599" v="433"/>
        <pc:sldMkLst>
          <pc:docMk/>
          <pc:sldMk cId="3271825444" sldId="947"/>
        </pc:sldMkLst>
        <pc:spChg chg="mod">
          <ac:chgData name="Sascha Plate" userId="ed8ff092-8995-4993-845b-21c8a164b889" providerId="ADAL" clId="{8EC2DDE8-55CA-4417-BE68-FC755CA52417}" dt="2021-11-08T14:03:45.599" v="433"/>
          <ac:spMkLst>
            <pc:docMk/>
            <pc:sldMk cId="3271825444" sldId="947"/>
            <ac:spMk id="9" creationId="{00000000-0000-0000-0000-000000000000}"/>
          </ac:spMkLst>
        </pc:spChg>
      </pc:sldChg>
      <pc:sldChg chg="delSp modSp mod">
        <pc:chgData name="Sascha Plate" userId="ed8ff092-8995-4993-845b-21c8a164b889" providerId="ADAL" clId="{8EC2DDE8-55CA-4417-BE68-FC755CA52417}" dt="2021-11-08T14:32:23.494" v="458" actId="478"/>
        <pc:sldMkLst>
          <pc:docMk/>
          <pc:sldMk cId="1100124780" sldId="1071"/>
        </pc:sldMkLst>
        <pc:spChg chg="mod">
          <ac:chgData name="Sascha Plate" userId="ed8ff092-8995-4993-845b-21c8a164b889" providerId="ADAL" clId="{8EC2DDE8-55CA-4417-BE68-FC755CA52417}" dt="2021-11-08T14:03:01.198" v="422"/>
          <ac:spMkLst>
            <pc:docMk/>
            <pc:sldMk cId="1100124780" sldId="1071"/>
            <ac:spMk id="9" creationId="{00000000-0000-0000-0000-000000000000}"/>
          </ac:spMkLst>
        </pc:spChg>
        <pc:spChg chg="mod">
          <ac:chgData name="Sascha Plate" userId="ed8ff092-8995-4993-845b-21c8a164b889" providerId="ADAL" clId="{8EC2DDE8-55CA-4417-BE68-FC755CA52417}" dt="2021-11-08T13:40:57.795" v="67" actId="20577"/>
          <ac:spMkLst>
            <pc:docMk/>
            <pc:sldMk cId="1100124780" sldId="1071"/>
            <ac:spMk id="19" creationId="{96F8627F-6518-484C-A599-43FD66328600}"/>
          </ac:spMkLst>
        </pc:spChg>
        <pc:spChg chg="mod">
          <ac:chgData name="Sascha Plate" userId="ed8ff092-8995-4993-845b-21c8a164b889" providerId="ADAL" clId="{8EC2DDE8-55CA-4417-BE68-FC755CA52417}" dt="2021-11-08T13:51:16.109" v="281" actId="20577"/>
          <ac:spMkLst>
            <pc:docMk/>
            <pc:sldMk cId="1100124780" sldId="1071"/>
            <ac:spMk id="20" creationId="{62019EEE-9A6D-7F4B-8E95-DEDFCEAF9E95}"/>
          </ac:spMkLst>
        </pc:spChg>
        <pc:spChg chg="mod">
          <ac:chgData name="Sascha Plate" userId="ed8ff092-8995-4993-845b-21c8a164b889" providerId="ADAL" clId="{8EC2DDE8-55CA-4417-BE68-FC755CA52417}" dt="2021-11-08T13:51:23.639" v="293" actId="20577"/>
          <ac:spMkLst>
            <pc:docMk/>
            <pc:sldMk cId="1100124780" sldId="1071"/>
            <ac:spMk id="21" creationId="{FE4EEB46-7FCC-1841-9842-374FD0E8309E}"/>
          </ac:spMkLst>
        </pc:spChg>
        <pc:spChg chg="mod">
          <ac:chgData name="Sascha Plate" userId="ed8ff092-8995-4993-845b-21c8a164b889" providerId="ADAL" clId="{8EC2DDE8-55CA-4417-BE68-FC755CA52417}" dt="2021-11-08T13:52:21.078" v="303" actId="20577"/>
          <ac:spMkLst>
            <pc:docMk/>
            <pc:sldMk cId="1100124780" sldId="1071"/>
            <ac:spMk id="22" creationId="{EC38DEF8-304E-8F45-9E20-C7DA65387EDF}"/>
          </ac:spMkLst>
        </pc:spChg>
        <pc:spChg chg="mod">
          <ac:chgData name="Sascha Plate" userId="ed8ff092-8995-4993-845b-21c8a164b889" providerId="ADAL" clId="{8EC2DDE8-55CA-4417-BE68-FC755CA52417}" dt="2021-11-08T13:53:10.008" v="330" actId="790"/>
          <ac:spMkLst>
            <pc:docMk/>
            <pc:sldMk cId="1100124780" sldId="1071"/>
            <ac:spMk id="23" creationId="{094A6EE1-FF3B-B245-BE33-546CDA2B9E0A}"/>
          </ac:spMkLst>
        </pc:spChg>
        <pc:spChg chg="mod">
          <ac:chgData name="Sascha Plate" userId="ed8ff092-8995-4993-845b-21c8a164b889" providerId="ADAL" clId="{8EC2DDE8-55CA-4417-BE68-FC755CA52417}" dt="2021-11-08T13:58:58.700" v="378" actId="20577"/>
          <ac:spMkLst>
            <pc:docMk/>
            <pc:sldMk cId="1100124780" sldId="1071"/>
            <ac:spMk id="24" creationId="{981FAE73-B973-E042-827B-DB7A6960FEAE}"/>
          </ac:spMkLst>
        </pc:spChg>
        <pc:spChg chg="mod">
          <ac:chgData name="Sascha Plate" userId="ed8ff092-8995-4993-845b-21c8a164b889" providerId="ADAL" clId="{8EC2DDE8-55CA-4417-BE68-FC755CA52417}" dt="2021-11-08T13:49:46.279" v="233" actId="20577"/>
          <ac:spMkLst>
            <pc:docMk/>
            <pc:sldMk cId="1100124780" sldId="1071"/>
            <ac:spMk id="25" creationId="{93E73510-C380-F544-8D85-250777570799}"/>
          </ac:spMkLst>
        </pc:spChg>
        <pc:spChg chg="mod">
          <ac:chgData name="Sascha Plate" userId="ed8ff092-8995-4993-845b-21c8a164b889" providerId="ADAL" clId="{8EC2DDE8-55CA-4417-BE68-FC755CA52417}" dt="2021-11-08T13:49:51.863" v="235" actId="20577"/>
          <ac:spMkLst>
            <pc:docMk/>
            <pc:sldMk cId="1100124780" sldId="1071"/>
            <ac:spMk id="26" creationId="{D1F6C32E-E5CA-964A-BFFA-E5AC4EF135DE}"/>
          </ac:spMkLst>
        </pc:spChg>
        <pc:spChg chg="mod">
          <ac:chgData name="Sascha Plate" userId="ed8ff092-8995-4993-845b-21c8a164b889" providerId="ADAL" clId="{8EC2DDE8-55CA-4417-BE68-FC755CA52417}" dt="2021-11-08T13:50:02.456" v="246" actId="20577"/>
          <ac:spMkLst>
            <pc:docMk/>
            <pc:sldMk cId="1100124780" sldId="1071"/>
            <ac:spMk id="27" creationId="{C792B7B7-9256-9149-BB8F-06421B71202E}"/>
          </ac:spMkLst>
        </pc:spChg>
        <pc:spChg chg="mod">
          <ac:chgData name="Sascha Plate" userId="ed8ff092-8995-4993-845b-21c8a164b889" providerId="ADAL" clId="{8EC2DDE8-55CA-4417-BE68-FC755CA52417}" dt="2021-11-08T13:50:30.940" v="258" actId="20577"/>
          <ac:spMkLst>
            <pc:docMk/>
            <pc:sldMk cId="1100124780" sldId="1071"/>
            <ac:spMk id="28" creationId="{70FABAAD-FE7C-9E47-A7D3-AA3E92C944C0}"/>
          </ac:spMkLst>
        </pc:spChg>
        <pc:spChg chg="mod">
          <ac:chgData name="Sascha Plate" userId="ed8ff092-8995-4993-845b-21c8a164b889" providerId="ADAL" clId="{8EC2DDE8-55CA-4417-BE68-FC755CA52417}" dt="2021-11-08T13:50:38.946" v="269" actId="20577"/>
          <ac:spMkLst>
            <pc:docMk/>
            <pc:sldMk cId="1100124780" sldId="1071"/>
            <ac:spMk id="29" creationId="{D7C9A38C-02BF-2849-8C8D-37E796ED1918}"/>
          </ac:spMkLst>
        </pc:spChg>
        <pc:spChg chg="mod">
          <ac:chgData name="Sascha Plate" userId="ed8ff092-8995-4993-845b-21c8a164b889" providerId="ADAL" clId="{8EC2DDE8-55CA-4417-BE68-FC755CA52417}" dt="2021-11-08T13:46:33.907" v="115" actId="20577"/>
          <ac:spMkLst>
            <pc:docMk/>
            <pc:sldMk cId="1100124780" sldId="1071"/>
            <ac:spMk id="30" creationId="{83F48DDE-DBB5-3A43-B076-FCED2D5A1861}"/>
          </ac:spMkLst>
        </pc:spChg>
        <pc:spChg chg="del mod">
          <ac:chgData name="Sascha Plate" userId="ed8ff092-8995-4993-845b-21c8a164b889" providerId="ADAL" clId="{8EC2DDE8-55CA-4417-BE68-FC755CA52417}" dt="2021-11-08T14:00:01.725" v="388" actId="478"/>
          <ac:spMkLst>
            <pc:docMk/>
            <pc:sldMk cId="1100124780" sldId="1071"/>
            <ac:spMk id="31" creationId="{9EBFA4DC-0F4C-A64F-B1CC-65F4E6947510}"/>
          </ac:spMkLst>
        </pc:spChg>
        <pc:spChg chg="mod">
          <ac:chgData name="Sascha Plate" userId="ed8ff092-8995-4993-845b-21c8a164b889" providerId="ADAL" clId="{8EC2DDE8-55CA-4417-BE68-FC755CA52417}" dt="2021-11-08T13:41:08.121" v="78" actId="20577"/>
          <ac:spMkLst>
            <pc:docMk/>
            <pc:sldMk cId="1100124780" sldId="1071"/>
            <ac:spMk id="32" creationId="{87431E54-462C-DB4D-A402-66C445C6AB49}"/>
          </ac:spMkLst>
        </pc:spChg>
        <pc:spChg chg="mod">
          <ac:chgData name="Sascha Plate" userId="ed8ff092-8995-4993-845b-21c8a164b889" providerId="ADAL" clId="{8EC2DDE8-55CA-4417-BE68-FC755CA52417}" dt="2021-11-08T13:47:47.081" v="139" actId="20577"/>
          <ac:spMkLst>
            <pc:docMk/>
            <pc:sldMk cId="1100124780" sldId="1071"/>
            <ac:spMk id="33" creationId="{28D1F757-BC14-E84E-8B8E-48DFF4B2AFD5}"/>
          </ac:spMkLst>
        </pc:spChg>
        <pc:spChg chg="mod">
          <ac:chgData name="Sascha Plate" userId="ed8ff092-8995-4993-845b-21c8a164b889" providerId="ADAL" clId="{8EC2DDE8-55CA-4417-BE68-FC755CA52417}" dt="2021-11-08T13:59:59.843" v="387"/>
          <ac:spMkLst>
            <pc:docMk/>
            <pc:sldMk cId="1100124780" sldId="1071"/>
            <ac:spMk id="34" creationId="{298DA043-CCCC-F04F-90C8-F5C0509D2A80}"/>
          </ac:spMkLst>
        </pc:spChg>
        <pc:spChg chg="mod">
          <ac:chgData name="Sascha Plate" userId="ed8ff092-8995-4993-845b-21c8a164b889" providerId="ADAL" clId="{8EC2DDE8-55CA-4417-BE68-FC755CA52417}" dt="2021-11-08T13:46:25.693" v="110" actId="20577"/>
          <ac:spMkLst>
            <pc:docMk/>
            <pc:sldMk cId="1100124780" sldId="1071"/>
            <ac:spMk id="35" creationId="{06A0BB67-7F53-904E-AB20-AAAD765991AD}"/>
          </ac:spMkLst>
        </pc:spChg>
        <pc:spChg chg="mod">
          <ac:chgData name="Sascha Plate" userId="ed8ff092-8995-4993-845b-21c8a164b889" providerId="ADAL" clId="{8EC2DDE8-55CA-4417-BE68-FC755CA52417}" dt="2021-11-08T13:49:01.689" v="217" actId="20577"/>
          <ac:spMkLst>
            <pc:docMk/>
            <pc:sldMk cId="1100124780" sldId="1071"/>
            <ac:spMk id="36" creationId="{284797D7-B2C0-8D40-9F99-0EABE37DD2BF}"/>
          </ac:spMkLst>
        </pc:spChg>
        <pc:spChg chg="del">
          <ac:chgData name="Sascha Plate" userId="ed8ff092-8995-4993-845b-21c8a164b889" providerId="ADAL" clId="{8EC2DDE8-55CA-4417-BE68-FC755CA52417}" dt="2021-11-08T14:00:04.240" v="389" actId="478"/>
          <ac:spMkLst>
            <pc:docMk/>
            <pc:sldMk cId="1100124780" sldId="1071"/>
            <ac:spMk id="37" creationId="{C4FBB4B8-54C4-C140-8F4B-94B80DF42270}"/>
          </ac:spMkLst>
        </pc:spChg>
        <pc:spChg chg="del">
          <ac:chgData name="Sascha Plate" userId="ed8ff092-8995-4993-845b-21c8a164b889" providerId="ADAL" clId="{8EC2DDE8-55CA-4417-BE68-FC755CA52417}" dt="2021-11-08T14:32:21.799" v="455" actId="478"/>
          <ac:spMkLst>
            <pc:docMk/>
            <pc:sldMk cId="1100124780" sldId="1071"/>
            <ac:spMk id="38" creationId="{FF307D42-34B5-724D-9197-0BA9EB5846A3}"/>
          </ac:spMkLst>
        </pc:spChg>
        <pc:spChg chg="del mod">
          <ac:chgData name="Sascha Plate" userId="ed8ff092-8995-4993-845b-21c8a164b889" providerId="ADAL" clId="{8EC2DDE8-55CA-4417-BE68-FC755CA52417}" dt="2021-11-08T14:32:22.642" v="457" actId="478"/>
          <ac:spMkLst>
            <pc:docMk/>
            <pc:sldMk cId="1100124780" sldId="1071"/>
            <ac:spMk id="39" creationId="{1CD046B3-AC10-4646-A399-50108935047F}"/>
          </ac:spMkLst>
        </pc:spChg>
        <pc:spChg chg="del">
          <ac:chgData name="Sascha Plate" userId="ed8ff092-8995-4993-845b-21c8a164b889" providerId="ADAL" clId="{8EC2DDE8-55CA-4417-BE68-FC755CA52417}" dt="2021-11-08T14:32:23.494" v="458" actId="478"/>
          <ac:spMkLst>
            <pc:docMk/>
            <pc:sldMk cId="1100124780" sldId="1071"/>
            <ac:spMk id="40" creationId="{4AEDFB44-28E2-4040-8315-CB82303CCD85}"/>
          </ac:spMkLst>
        </pc:spChg>
        <pc:spChg chg="mod">
          <ac:chgData name="Sascha Plate" userId="ed8ff092-8995-4993-845b-21c8a164b889" providerId="ADAL" clId="{8EC2DDE8-55CA-4417-BE68-FC755CA52417}" dt="2021-11-08T13:53:19.659" v="331" actId="2"/>
          <ac:spMkLst>
            <pc:docMk/>
            <pc:sldMk cId="1100124780" sldId="1071"/>
            <ac:spMk id="41" creationId="{886FCF85-DC48-8A42-A558-EBAF9804C547}"/>
          </ac:spMkLst>
        </pc:spChg>
        <pc:spChg chg="mod">
          <ac:chgData name="Sascha Plate" userId="ed8ff092-8995-4993-845b-21c8a164b889" providerId="ADAL" clId="{8EC2DDE8-55CA-4417-BE68-FC755CA52417}" dt="2021-11-08T13:53:26.488" v="333" actId="2"/>
          <ac:spMkLst>
            <pc:docMk/>
            <pc:sldMk cId="1100124780" sldId="1071"/>
            <ac:spMk id="42" creationId="{4A27E050-DF6F-214A-A1DF-4C02A4A83140}"/>
          </ac:spMkLst>
        </pc:spChg>
      </pc:sldChg>
      <pc:sldChg chg="modSp mod">
        <pc:chgData name="Sascha Plate" userId="ed8ff092-8995-4993-845b-21c8a164b889" providerId="ADAL" clId="{8EC2DDE8-55CA-4417-BE68-FC755CA52417}" dt="2021-11-08T14:02:56.711" v="421"/>
        <pc:sldMkLst>
          <pc:docMk/>
          <pc:sldMk cId="1259679593" sldId="1072"/>
        </pc:sldMkLst>
        <pc:spChg chg="mod">
          <ac:chgData name="Sascha Plate" userId="ed8ff092-8995-4993-845b-21c8a164b889" providerId="ADAL" clId="{8EC2DDE8-55CA-4417-BE68-FC755CA52417}" dt="2021-11-08T14:02:56.711" v="421"/>
          <ac:spMkLst>
            <pc:docMk/>
            <pc:sldMk cId="1259679593" sldId="1072"/>
            <ac:spMk id="8" creationId="{B453606B-A0E8-41C5-B886-D3631503398E}"/>
          </ac:spMkLst>
        </pc:spChg>
      </pc:sldChg>
      <pc:sldChg chg="modSp mod">
        <pc:chgData name="Sascha Plate" userId="ed8ff092-8995-4993-845b-21c8a164b889" providerId="ADAL" clId="{8EC2DDE8-55CA-4417-BE68-FC755CA52417}" dt="2021-11-08T14:03:21.107" v="427"/>
        <pc:sldMkLst>
          <pc:docMk/>
          <pc:sldMk cId="1866687839" sldId="1073"/>
        </pc:sldMkLst>
        <pc:spChg chg="mod">
          <ac:chgData name="Sascha Plate" userId="ed8ff092-8995-4993-845b-21c8a164b889" providerId="ADAL" clId="{8EC2DDE8-55CA-4417-BE68-FC755CA52417}" dt="2021-11-08T14:03:21.107" v="427"/>
          <ac:spMkLst>
            <pc:docMk/>
            <pc:sldMk cId="1866687839" sldId="1073"/>
            <ac:spMk id="7" creationId="{24A19E4D-1141-48EA-875E-07D9F876A23D}"/>
          </ac:spMkLst>
        </pc:spChg>
      </pc:sldChg>
    </pc:docChg>
  </pc:docChgLst>
  <pc:docChgLst>
    <pc:chgData name="Sascha Plate" userId="ed8ff092-8995-4993-845b-21c8a164b889" providerId="ADAL" clId="{442D3CB8-7EB4-473E-AC96-729CC6E4D148}"/>
    <pc:docChg chg="modSld">
      <pc:chgData name="Sascha Plate" userId="ed8ff092-8995-4993-845b-21c8a164b889" providerId="ADAL" clId="{442D3CB8-7EB4-473E-AC96-729CC6E4D148}" dt="2021-12-06T10:13:27.077" v="16" actId="1076"/>
      <pc:docMkLst>
        <pc:docMk/>
      </pc:docMkLst>
      <pc:sldChg chg="modSp mod">
        <pc:chgData name="Sascha Plate" userId="ed8ff092-8995-4993-845b-21c8a164b889" providerId="ADAL" clId="{442D3CB8-7EB4-473E-AC96-729CC6E4D148}" dt="2021-12-06T10:12:45.813" v="13" actId="20577"/>
        <pc:sldMkLst>
          <pc:docMk/>
          <pc:sldMk cId="0" sldId="402"/>
        </pc:sldMkLst>
        <pc:spChg chg="mod">
          <ac:chgData name="Sascha Plate" userId="ed8ff092-8995-4993-845b-21c8a164b889" providerId="ADAL" clId="{442D3CB8-7EB4-473E-AC96-729CC6E4D148}" dt="2021-12-06T10:12:45.813" v="13" actId="20577"/>
          <ac:spMkLst>
            <pc:docMk/>
            <pc:sldMk cId="0" sldId="402"/>
            <ac:spMk id="3" creationId="{00000000-0000-0000-0000-000000000000}"/>
          </ac:spMkLst>
        </pc:spChg>
      </pc:sldChg>
      <pc:sldChg chg="modSp mod">
        <pc:chgData name="Sascha Plate" userId="ed8ff092-8995-4993-845b-21c8a164b889" providerId="ADAL" clId="{442D3CB8-7EB4-473E-AC96-729CC6E4D148}" dt="2021-12-06T10:13:27.077" v="16" actId="1076"/>
        <pc:sldMkLst>
          <pc:docMk/>
          <pc:sldMk cId="4265109478" sldId="938"/>
        </pc:sldMkLst>
        <pc:spChg chg="mod">
          <ac:chgData name="Sascha Plate" userId="ed8ff092-8995-4993-845b-21c8a164b889" providerId="ADAL" clId="{442D3CB8-7EB4-473E-AC96-729CC6E4D148}" dt="2021-12-06T10:13:27.077" v="16" actId="1076"/>
          <ac:spMkLst>
            <pc:docMk/>
            <pc:sldMk cId="4265109478" sldId="938"/>
            <ac:spMk id="14" creationId="{52D0B4F8-0839-4377-B76C-D03DDB2250F1}"/>
          </ac:spMkLst>
        </pc:spChg>
        <pc:cxnChg chg="mod">
          <ac:chgData name="Sascha Plate" userId="ed8ff092-8995-4993-845b-21c8a164b889" providerId="ADAL" clId="{442D3CB8-7EB4-473E-AC96-729CC6E4D148}" dt="2021-12-06T10:13:20.826" v="15" actId="1076"/>
          <ac:cxnSpMkLst>
            <pc:docMk/>
            <pc:sldMk cId="4265109478" sldId="938"/>
            <ac:cxnSpMk id="13" creationId="{7515589A-A287-4E51-A79E-07D8C7D177E8}"/>
          </ac:cxnSpMkLst>
        </pc:cxnChg>
      </pc:sldChg>
      <pc:sldChg chg="modSp mod">
        <pc:chgData name="Sascha Plate" userId="ed8ff092-8995-4993-845b-21c8a164b889" providerId="ADAL" clId="{442D3CB8-7EB4-473E-AC96-729CC6E4D148}" dt="2021-11-22T20:04:47.465" v="3" actId="20577"/>
        <pc:sldMkLst>
          <pc:docMk/>
          <pc:sldMk cId="3271825444" sldId="947"/>
        </pc:sldMkLst>
        <pc:spChg chg="mod">
          <ac:chgData name="Sascha Plate" userId="ed8ff092-8995-4993-845b-21c8a164b889" providerId="ADAL" clId="{442D3CB8-7EB4-473E-AC96-729CC6E4D148}" dt="2021-11-22T20:04:47.465" v="3" actId="20577"/>
          <ac:spMkLst>
            <pc:docMk/>
            <pc:sldMk cId="3271825444" sldId="947"/>
            <ac:spMk id="11" creationId="{0A9D4812-C3AB-4CA8-9030-61C9F0D731C4}"/>
          </ac:spMkLst>
        </pc:spChg>
      </pc:sldChg>
    </pc:docChg>
  </pc:docChgLst>
  <pc:docChgLst>
    <pc:chgData name="Sascha Plate" userId="ed8ff092-8995-4993-845b-21c8a164b889" providerId="ADAL" clId="{E2521BF6-0EB0-416F-B1DD-261BAE737106}"/>
    <pc:docChg chg="undo custSel modSld">
      <pc:chgData name="Sascha Plate" userId="ed8ff092-8995-4993-845b-21c8a164b889" providerId="ADAL" clId="{E2521BF6-0EB0-416F-B1DD-261BAE737106}" dt="2022-01-03T20:03:37.315" v="910" actId="20577"/>
      <pc:docMkLst>
        <pc:docMk/>
      </pc:docMkLst>
      <pc:sldChg chg="modSp mod">
        <pc:chgData name="Sascha Plate" userId="ed8ff092-8995-4993-845b-21c8a164b889" providerId="ADAL" clId="{E2521BF6-0EB0-416F-B1DD-261BAE737106}" dt="2022-01-02T16:40:13.028" v="5" actId="20577"/>
        <pc:sldMkLst>
          <pc:docMk/>
          <pc:sldMk cId="0" sldId="402"/>
        </pc:sldMkLst>
        <pc:spChg chg="mod">
          <ac:chgData name="Sascha Plate" userId="ed8ff092-8995-4993-845b-21c8a164b889" providerId="ADAL" clId="{E2521BF6-0EB0-416F-B1DD-261BAE737106}" dt="2022-01-02T16:40:13.028" v="5" actId="20577"/>
          <ac:spMkLst>
            <pc:docMk/>
            <pc:sldMk cId="0" sldId="402"/>
            <ac:spMk id="3" creationId="{00000000-0000-0000-0000-000000000000}"/>
          </ac:spMkLst>
        </pc:spChg>
      </pc:sldChg>
      <pc:sldChg chg="modSp mod">
        <pc:chgData name="Sascha Plate" userId="ed8ff092-8995-4993-845b-21c8a164b889" providerId="ADAL" clId="{E2521BF6-0EB0-416F-B1DD-261BAE737106}" dt="2022-01-03T19:03:01.533" v="6" actId="1076"/>
        <pc:sldMkLst>
          <pc:docMk/>
          <pc:sldMk cId="4265109478" sldId="938"/>
        </pc:sldMkLst>
        <pc:spChg chg="mod">
          <ac:chgData name="Sascha Plate" userId="ed8ff092-8995-4993-845b-21c8a164b889" providerId="ADAL" clId="{E2521BF6-0EB0-416F-B1DD-261BAE737106}" dt="2022-01-03T19:03:01.533" v="6" actId="1076"/>
          <ac:spMkLst>
            <pc:docMk/>
            <pc:sldMk cId="4265109478" sldId="938"/>
            <ac:spMk id="14" creationId="{52D0B4F8-0839-4377-B76C-D03DDB2250F1}"/>
          </ac:spMkLst>
        </pc:spChg>
        <pc:cxnChg chg="mod">
          <ac:chgData name="Sascha Plate" userId="ed8ff092-8995-4993-845b-21c8a164b889" providerId="ADAL" clId="{E2521BF6-0EB0-416F-B1DD-261BAE737106}" dt="2022-01-03T19:03:01.533" v="6" actId="1076"/>
          <ac:cxnSpMkLst>
            <pc:docMk/>
            <pc:sldMk cId="4265109478" sldId="938"/>
            <ac:cxnSpMk id="13" creationId="{7515589A-A287-4E51-A79E-07D8C7D177E8}"/>
          </ac:cxnSpMkLst>
        </pc:cxnChg>
      </pc:sldChg>
      <pc:sldChg chg="modSp mod">
        <pc:chgData name="Sascha Plate" userId="ed8ff092-8995-4993-845b-21c8a164b889" providerId="ADAL" clId="{E2521BF6-0EB0-416F-B1DD-261BAE737106}" dt="2022-01-03T19:25:18.838" v="12" actId="20577"/>
        <pc:sldMkLst>
          <pc:docMk/>
          <pc:sldMk cId="3904258734" sldId="942"/>
        </pc:sldMkLst>
        <pc:graphicFrameChg chg="modGraphic">
          <ac:chgData name="Sascha Plate" userId="ed8ff092-8995-4993-845b-21c8a164b889" providerId="ADAL" clId="{E2521BF6-0EB0-416F-B1DD-261BAE737106}" dt="2022-01-03T19:25:18.838" v="12" actId="20577"/>
          <ac:graphicFrameMkLst>
            <pc:docMk/>
            <pc:sldMk cId="3904258734" sldId="942"/>
            <ac:graphicFrameMk id="4" creationId="{00000000-0000-0000-0000-000000000000}"/>
          </ac:graphicFrameMkLst>
        </pc:graphicFrameChg>
      </pc:sldChg>
      <pc:sldChg chg="addSp delSp modSp mod">
        <pc:chgData name="Sascha Plate" userId="ed8ff092-8995-4993-845b-21c8a164b889" providerId="ADAL" clId="{E2521BF6-0EB0-416F-B1DD-261BAE737106}" dt="2022-01-03T19:45:35.060" v="16" actId="732"/>
        <pc:sldMkLst>
          <pc:docMk/>
          <pc:sldMk cId="386723065" sldId="943"/>
        </pc:sldMkLst>
        <pc:picChg chg="del">
          <ac:chgData name="Sascha Plate" userId="ed8ff092-8995-4993-845b-21c8a164b889" providerId="ADAL" clId="{E2521BF6-0EB0-416F-B1DD-261BAE737106}" dt="2022-01-03T19:44:59.495" v="13" actId="478"/>
          <ac:picMkLst>
            <pc:docMk/>
            <pc:sldMk cId="386723065" sldId="943"/>
            <ac:picMk id="3" creationId="{94FD6BA2-6B97-4D41-B991-C54DF0E03AA6}"/>
          </ac:picMkLst>
        </pc:picChg>
        <pc:picChg chg="add mod modCrop">
          <ac:chgData name="Sascha Plate" userId="ed8ff092-8995-4993-845b-21c8a164b889" providerId="ADAL" clId="{E2521BF6-0EB0-416F-B1DD-261BAE737106}" dt="2022-01-03T19:45:35.060" v="16" actId="732"/>
          <ac:picMkLst>
            <pc:docMk/>
            <pc:sldMk cId="386723065" sldId="943"/>
            <ac:picMk id="4" creationId="{12783F49-FD86-4C24-801B-783C3A0CB2F4}"/>
          </ac:picMkLst>
        </pc:picChg>
      </pc:sldChg>
      <pc:sldChg chg="modSp mod">
        <pc:chgData name="Sascha Plate" userId="ed8ff092-8995-4993-845b-21c8a164b889" providerId="ADAL" clId="{E2521BF6-0EB0-416F-B1DD-261BAE737106}" dt="2022-01-03T20:03:37.315" v="910" actId="20577"/>
        <pc:sldMkLst>
          <pc:docMk/>
          <pc:sldMk cId="3050947903" sldId="946"/>
        </pc:sldMkLst>
        <pc:spChg chg="mod">
          <ac:chgData name="Sascha Plate" userId="ed8ff092-8995-4993-845b-21c8a164b889" providerId="ADAL" clId="{E2521BF6-0EB0-416F-B1DD-261BAE737106}" dt="2022-01-03T20:03:37.315" v="910" actId="20577"/>
          <ac:spMkLst>
            <pc:docMk/>
            <pc:sldMk cId="3050947903" sldId="946"/>
            <ac:spMk id="11" creationId="{0A9D4812-C3AB-4CA8-9030-61C9F0D731C4}"/>
          </ac:spMkLst>
        </pc:spChg>
        <pc:spChg chg="mod">
          <ac:chgData name="Sascha Plate" userId="ed8ff092-8995-4993-845b-21c8a164b889" providerId="ADAL" clId="{E2521BF6-0EB0-416F-B1DD-261BAE737106}" dt="2022-01-03T19:55:47.885" v="447" actId="20577"/>
          <ac:spMkLst>
            <pc:docMk/>
            <pc:sldMk cId="3050947903" sldId="946"/>
            <ac:spMk id="13" creationId="{0A9D4812-C3AB-4CA8-9030-61C9F0D731C4}"/>
          </ac:spMkLst>
        </pc:spChg>
      </pc:sldChg>
      <pc:sldChg chg="modSp mod">
        <pc:chgData name="Sascha Plate" userId="ed8ff092-8995-4993-845b-21c8a164b889" providerId="ADAL" clId="{E2521BF6-0EB0-416F-B1DD-261BAE737106}" dt="2022-01-03T20:03:07.657" v="908" actId="313"/>
        <pc:sldMkLst>
          <pc:docMk/>
          <pc:sldMk cId="3271825444" sldId="947"/>
        </pc:sldMkLst>
        <pc:spChg chg="mod">
          <ac:chgData name="Sascha Plate" userId="ed8ff092-8995-4993-845b-21c8a164b889" providerId="ADAL" clId="{E2521BF6-0EB0-416F-B1DD-261BAE737106}" dt="2022-01-03T20:03:07.657" v="908" actId="313"/>
          <ac:spMkLst>
            <pc:docMk/>
            <pc:sldMk cId="3271825444" sldId="947"/>
            <ac:spMk id="11" creationId="{0A9D4812-C3AB-4CA8-9030-61C9F0D731C4}"/>
          </ac:spMkLst>
        </pc:spChg>
      </pc:sldChg>
    </pc:docChg>
  </pc:docChgLst>
  <pc:docChgLst>
    <pc:chgData name="Sascha Plate" userId="ed8ff092-8995-4993-845b-21c8a164b889" providerId="ADAL" clId="{D5DE2EC5-D376-43A5-B900-7F060FA30BBF}"/>
    <pc:docChg chg="undo custSel modSld">
      <pc:chgData name="Sascha Plate" userId="ed8ff092-8995-4993-845b-21c8a164b889" providerId="ADAL" clId="{D5DE2EC5-D376-43A5-B900-7F060FA30BBF}" dt="2021-11-01T12:41:27.174" v="736" actId="1076"/>
      <pc:docMkLst>
        <pc:docMk/>
      </pc:docMkLst>
      <pc:sldChg chg="modSp mod">
        <pc:chgData name="Sascha Plate" userId="ed8ff092-8995-4993-845b-21c8a164b889" providerId="ADAL" clId="{D5DE2EC5-D376-43A5-B900-7F060FA30BBF}" dt="2021-11-01T12:38:10.151" v="696" actId="732"/>
        <pc:sldMkLst>
          <pc:docMk/>
          <pc:sldMk cId="386723065" sldId="943"/>
        </pc:sldMkLst>
        <pc:picChg chg="mod modCrop">
          <ac:chgData name="Sascha Plate" userId="ed8ff092-8995-4993-845b-21c8a164b889" providerId="ADAL" clId="{D5DE2EC5-D376-43A5-B900-7F060FA30BBF}" dt="2021-11-01T12:38:10.151" v="696" actId="732"/>
          <ac:picMkLst>
            <pc:docMk/>
            <pc:sldMk cId="386723065" sldId="943"/>
            <ac:picMk id="3" creationId="{94FD6BA2-6B97-4D41-B991-C54DF0E03AA6}"/>
          </ac:picMkLst>
        </pc:picChg>
      </pc:sldChg>
      <pc:sldChg chg="modSp mod">
        <pc:chgData name="Sascha Plate" userId="ed8ff092-8995-4993-845b-21c8a164b889" providerId="ADAL" clId="{D5DE2EC5-D376-43A5-B900-7F060FA30BBF}" dt="2021-11-01T12:37:22.588" v="686" actId="403"/>
        <pc:sldMkLst>
          <pc:docMk/>
          <pc:sldMk cId="253587772" sldId="944"/>
        </pc:sldMkLst>
        <pc:graphicFrameChg chg="modGraphic">
          <ac:chgData name="Sascha Plate" userId="ed8ff092-8995-4993-845b-21c8a164b889" providerId="ADAL" clId="{D5DE2EC5-D376-43A5-B900-7F060FA30BBF}" dt="2021-11-01T12:37:02.041" v="665" actId="20577"/>
          <ac:graphicFrameMkLst>
            <pc:docMk/>
            <pc:sldMk cId="253587772" sldId="944"/>
            <ac:graphicFrameMk id="28" creationId="{00000000-0000-0000-0000-000000000000}"/>
          </ac:graphicFrameMkLst>
        </pc:graphicFrameChg>
        <pc:graphicFrameChg chg="modGraphic">
          <ac:chgData name="Sascha Plate" userId="ed8ff092-8995-4993-845b-21c8a164b889" providerId="ADAL" clId="{D5DE2EC5-D376-43A5-B900-7F060FA30BBF}" dt="2021-11-01T12:37:04.248" v="668" actId="20577"/>
          <ac:graphicFrameMkLst>
            <pc:docMk/>
            <pc:sldMk cId="253587772" sldId="944"/>
            <ac:graphicFrameMk id="29" creationId="{00000000-0000-0000-0000-000000000000}"/>
          </ac:graphicFrameMkLst>
        </pc:graphicFrameChg>
        <pc:graphicFrameChg chg="modGraphic">
          <ac:chgData name="Sascha Plate" userId="ed8ff092-8995-4993-845b-21c8a164b889" providerId="ADAL" clId="{D5DE2EC5-D376-43A5-B900-7F060FA30BBF}" dt="2021-11-01T12:37:09.639" v="672" actId="403"/>
          <ac:graphicFrameMkLst>
            <pc:docMk/>
            <pc:sldMk cId="253587772" sldId="944"/>
            <ac:graphicFrameMk id="30" creationId="{00000000-0000-0000-0000-000000000000}"/>
          </ac:graphicFrameMkLst>
        </pc:graphicFrameChg>
        <pc:graphicFrameChg chg="modGraphic">
          <ac:chgData name="Sascha Plate" userId="ed8ff092-8995-4993-845b-21c8a164b889" providerId="ADAL" clId="{D5DE2EC5-D376-43A5-B900-7F060FA30BBF}" dt="2021-11-01T12:36:55.425" v="660" actId="403"/>
          <ac:graphicFrameMkLst>
            <pc:docMk/>
            <pc:sldMk cId="253587772" sldId="944"/>
            <ac:graphicFrameMk id="31" creationId="{00000000-0000-0000-0000-000000000000}"/>
          </ac:graphicFrameMkLst>
        </pc:graphicFrameChg>
        <pc:graphicFrameChg chg="modGraphic">
          <ac:chgData name="Sascha Plate" userId="ed8ff092-8995-4993-845b-21c8a164b889" providerId="ADAL" clId="{D5DE2EC5-D376-43A5-B900-7F060FA30BBF}" dt="2021-11-01T12:37:03.591" v="667" actId="20577"/>
          <ac:graphicFrameMkLst>
            <pc:docMk/>
            <pc:sldMk cId="253587772" sldId="944"/>
            <ac:graphicFrameMk id="32" creationId="{00000000-0000-0000-0000-000000000000}"/>
          </ac:graphicFrameMkLst>
        </pc:graphicFrameChg>
        <pc:graphicFrameChg chg="modGraphic">
          <ac:chgData name="Sascha Plate" userId="ed8ff092-8995-4993-845b-21c8a164b889" providerId="ADAL" clId="{D5DE2EC5-D376-43A5-B900-7F060FA30BBF}" dt="2021-11-01T12:37:14.584" v="678" actId="404"/>
          <ac:graphicFrameMkLst>
            <pc:docMk/>
            <pc:sldMk cId="253587772" sldId="944"/>
            <ac:graphicFrameMk id="33" creationId="{00000000-0000-0000-0000-000000000000}"/>
          </ac:graphicFrameMkLst>
        </pc:graphicFrameChg>
        <pc:graphicFrameChg chg="modGraphic">
          <ac:chgData name="Sascha Plate" userId="ed8ff092-8995-4993-845b-21c8a164b889" providerId="ADAL" clId="{D5DE2EC5-D376-43A5-B900-7F060FA30BBF}" dt="2021-11-01T12:37:02.632" v="666" actId="20577"/>
          <ac:graphicFrameMkLst>
            <pc:docMk/>
            <pc:sldMk cId="253587772" sldId="944"/>
            <ac:graphicFrameMk id="34" creationId="{00000000-0000-0000-0000-000000000000}"/>
          </ac:graphicFrameMkLst>
        </pc:graphicFrameChg>
        <pc:graphicFrameChg chg="modGraphic">
          <ac:chgData name="Sascha Plate" userId="ed8ff092-8995-4993-845b-21c8a164b889" providerId="ADAL" clId="{D5DE2EC5-D376-43A5-B900-7F060FA30BBF}" dt="2021-11-01T12:37:22.588" v="686" actId="403"/>
          <ac:graphicFrameMkLst>
            <pc:docMk/>
            <pc:sldMk cId="253587772" sldId="944"/>
            <ac:graphicFrameMk id="35" creationId="{00000000-0000-0000-0000-000000000000}"/>
          </ac:graphicFrameMkLst>
        </pc:graphicFrameChg>
        <pc:graphicFrameChg chg="modGraphic">
          <ac:chgData name="Sascha Plate" userId="ed8ff092-8995-4993-845b-21c8a164b889" providerId="ADAL" clId="{D5DE2EC5-D376-43A5-B900-7F060FA30BBF}" dt="2021-11-01T12:37:18.704" v="682" actId="403"/>
          <ac:graphicFrameMkLst>
            <pc:docMk/>
            <pc:sldMk cId="253587772" sldId="944"/>
            <ac:graphicFrameMk id="36" creationId="{00000000-0000-0000-0000-000000000000}"/>
          </ac:graphicFrameMkLst>
        </pc:graphicFrameChg>
      </pc:sldChg>
      <pc:sldChg chg="modSp mod">
        <pc:chgData name="Sascha Plate" userId="ed8ff092-8995-4993-845b-21c8a164b889" providerId="ADAL" clId="{D5DE2EC5-D376-43A5-B900-7F060FA30BBF}" dt="2021-11-01T12:28:38.240" v="655" actId="20577"/>
        <pc:sldMkLst>
          <pc:docMk/>
          <pc:sldMk cId="2967974404" sldId="945"/>
        </pc:sldMkLst>
        <pc:spChg chg="mod">
          <ac:chgData name="Sascha Plate" userId="ed8ff092-8995-4993-845b-21c8a164b889" providerId="ADAL" clId="{D5DE2EC5-D376-43A5-B900-7F060FA30BBF}" dt="2021-11-01T12:28:25.301" v="654" actId="403"/>
          <ac:spMkLst>
            <pc:docMk/>
            <pc:sldMk cId="2967974404" sldId="945"/>
            <ac:spMk id="11" creationId="{0A9D4812-C3AB-4CA8-9030-61C9F0D731C4}"/>
          </ac:spMkLst>
        </pc:spChg>
        <pc:spChg chg="mod">
          <ac:chgData name="Sascha Plate" userId="ed8ff092-8995-4993-845b-21c8a164b889" providerId="ADAL" clId="{D5DE2EC5-D376-43A5-B900-7F060FA30BBF}" dt="2021-11-01T12:28:38.240" v="655" actId="20577"/>
          <ac:spMkLst>
            <pc:docMk/>
            <pc:sldMk cId="2967974404" sldId="945"/>
            <ac:spMk id="13" creationId="{0A9D4812-C3AB-4CA8-9030-61C9F0D731C4}"/>
          </ac:spMkLst>
        </pc:spChg>
      </pc:sldChg>
      <pc:sldChg chg="addSp modSp mod">
        <pc:chgData name="Sascha Plate" userId="ed8ff092-8995-4993-845b-21c8a164b889" providerId="ADAL" clId="{D5DE2EC5-D376-43A5-B900-7F060FA30BBF}" dt="2021-11-01T12:41:27.174" v="736" actId="1076"/>
        <pc:sldMkLst>
          <pc:docMk/>
          <pc:sldMk cId="1866687839" sldId="1073"/>
        </pc:sldMkLst>
        <pc:spChg chg="mod">
          <ac:chgData name="Sascha Plate" userId="ed8ff092-8995-4993-845b-21c8a164b889" providerId="ADAL" clId="{D5DE2EC5-D376-43A5-B900-7F060FA30BBF}" dt="2021-11-01T12:40:08.195" v="717"/>
          <ac:spMkLst>
            <pc:docMk/>
            <pc:sldMk cId="1866687839" sldId="1073"/>
            <ac:spMk id="24" creationId="{8FF77E66-03C7-430A-8465-DF976E29C2ED}"/>
          </ac:spMkLst>
        </pc:spChg>
        <pc:spChg chg="mod">
          <ac:chgData name="Sascha Plate" userId="ed8ff092-8995-4993-845b-21c8a164b889" providerId="ADAL" clId="{D5DE2EC5-D376-43A5-B900-7F060FA30BBF}" dt="2021-11-01T12:40:08.195" v="717"/>
          <ac:spMkLst>
            <pc:docMk/>
            <pc:sldMk cId="1866687839" sldId="1073"/>
            <ac:spMk id="25" creationId="{EB80C244-AEB8-40A2-B69C-B4FC0C3C087A}"/>
          </ac:spMkLst>
        </pc:spChg>
        <pc:spChg chg="mod">
          <ac:chgData name="Sascha Plate" userId="ed8ff092-8995-4993-845b-21c8a164b889" providerId="ADAL" clId="{D5DE2EC5-D376-43A5-B900-7F060FA30BBF}" dt="2021-11-01T12:40:08.195" v="717"/>
          <ac:spMkLst>
            <pc:docMk/>
            <pc:sldMk cId="1866687839" sldId="1073"/>
            <ac:spMk id="26" creationId="{3C1D810B-ED80-485A-9647-4E82E3DF2EA2}"/>
          </ac:spMkLst>
        </pc:spChg>
        <pc:spChg chg="mod">
          <ac:chgData name="Sascha Plate" userId="ed8ff092-8995-4993-845b-21c8a164b889" providerId="ADAL" clId="{D5DE2EC5-D376-43A5-B900-7F060FA30BBF}" dt="2021-11-01T12:40:08.195" v="717"/>
          <ac:spMkLst>
            <pc:docMk/>
            <pc:sldMk cId="1866687839" sldId="1073"/>
            <ac:spMk id="27" creationId="{03A0163F-1986-4D4F-B266-ACAE212F4AE6}"/>
          </ac:spMkLst>
        </pc:spChg>
        <pc:spChg chg="mod">
          <ac:chgData name="Sascha Plate" userId="ed8ff092-8995-4993-845b-21c8a164b889" providerId="ADAL" clId="{D5DE2EC5-D376-43A5-B900-7F060FA30BBF}" dt="2021-11-01T12:40:23.019" v="719"/>
          <ac:spMkLst>
            <pc:docMk/>
            <pc:sldMk cId="1866687839" sldId="1073"/>
            <ac:spMk id="29" creationId="{280BE7EE-F7AF-4DD4-8C19-DB6EC5AD0414}"/>
          </ac:spMkLst>
        </pc:spChg>
        <pc:spChg chg="mod">
          <ac:chgData name="Sascha Plate" userId="ed8ff092-8995-4993-845b-21c8a164b889" providerId="ADAL" clId="{D5DE2EC5-D376-43A5-B900-7F060FA30BBF}" dt="2021-11-01T12:40:23.019" v="719"/>
          <ac:spMkLst>
            <pc:docMk/>
            <pc:sldMk cId="1866687839" sldId="1073"/>
            <ac:spMk id="30" creationId="{4F006D8E-BA09-4CAF-A361-608F15CED7E3}"/>
          </ac:spMkLst>
        </pc:spChg>
        <pc:spChg chg="mod">
          <ac:chgData name="Sascha Plate" userId="ed8ff092-8995-4993-845b-21c8a164b889" providerId="ADAL" clId="{D5DE2EC5-D376-43A5-B900-7F060FA30BBF}" dt="2021-11-01T12:40:23.019" v="719"/>
          <ac:spMkLst>
            <pc:docMk/>
            <pc:sldMk cId="1866687839" sldId="1073"/>
            <ac:spMk id="31" creationId="{F1C20F40-4262-4744-8B9F-03E237D437D8}"/>
          </ac:spMkLst>
        </pc:spChg>
        <pc:spChg chg="mod">
          <ac:chgData name="Sascha Plate" userId="ed8ff092-8995-4993-845b-21c8a164b889" providerId="ADAL" clId="{D5DE2EC5-D376-43A5-B900-7F060FA30BBF}" dt="2021-11-01T12:40:23.019" v="719"/>
          <ac:spMkLst>
            <pc:docMk/>
            <pc:sldMk cId="1866687839" sldId="1073"/>
            <ac:spMk id="32" creationId="{0C9E78B7-F58F-42EA-B1E4-2B1EFB4D271B}"/>
          </ac:spMkLst>
        </pc:spChg>
        <pc:spChg chg="mod">
          <ac:chgData name="Sascha Plate" userId="ed8ff092-8995-4993-845b-21c8a164b889" providerId="ADAL" clId="{D5DE2EC5-D376-43A5-B900-7F060FA30BBF}" dt="2021-11-01T12:40:52.546" v="722"/>
          <ac:spMkLst>
            <pc:docMk/>
            <pc:sldMk cId="1866687839" sldId="1073"/>
            <ac:spMk id="34" creationId="{BA4C5C3D-0CC2-4E4A-BC5F-3F6829B63439}"/>
          </ac:spMkLst>
        </pc:spChg>
        <pc:spChg chg="mod">
          <ac:chgData name="Sascha Plate" userId="ed8ff092-8995-4993-845b-21c8a164b889" providerId="ADAL" clId="{D5DE2EC5-D376-43A5-B900-7F060FA30BBF}" dt="2021-11-01T12:40:52.546" v="722"/>
          <ac:spMkLst>
            <pc:docMk/>
            <pc:sldMk cId="1866687839" sldId="1073"/>
            <ac:spMk id="35" creationId="{2761A3D7-0CBD-4AB4-A5A5-8C0F7A6A2369}"/>
          </ac:spMkLst>
        </pc:spChg>
        <pc:spChg chg="mod">
          <ac:chgData name="Sascha Plate" userId="ed8ff092-8995-4993-845b-21c8a164b889" providerId="ADAL" clId="{D5DE2EC5-D376-43A5-B900-7F060FA30BBF}" dt="2021-11-01T12:40:52.546" v="722"/>
          <ac:spMkLst>
            <pc:docMk/>
            <pc:sldMk cId="1866687839" sldId="1073"/>
            <ac:spMk id="36" creationId="{E6FFF198-746E-493A-84DA-BDBCBDD0DC75}"/>
          </ac:spMkLst>
        </pc:spChg>
        <pc:spChg chg="mod">
          <ac:chgData name="Sascha Plate" userId="ed8ff092-8995-4993-845b-21c8a164b889" providerId="ADAL" clId="{D5DE2EC5-D376-43A5-B900-7F060FA30BBF}" dt="2021-11-01T12:40:52.546" v="722"/>
          <ac:spMkLst>
            <pc:docMk/>
            <pc:sldMk cId="1866687839" sldId="1073"/>
            <ac:spMk id="37" creationId="{B0E1518B-33B5-49C6-846A-629F206060CF}"/>
          </ac:spMkLst>
        </pc:spChg>
        <pc:spChg chg="mod">
          <ac:chgData name="Sascha Plate" userId="ed8ff092-8995-4993-845b-21c8a164b889" providerId="ADAL" clId="{D5DE2EC5-D376-43A5-B900-7F060FA30BBF}" dt="2021-11-01T12:40:59.008" v="724"/>
          <ac:spMkLst>
            <pc:docMk/>
            <pc:sldMk cId="1866687839" sldId="1073"/>
            <ac:spMk id="39" creationId="{F8D11363-F84A-4C07-AFFC-3AB48882FCFC}"/>
          </ac:spMkLst>
        </pc:spChg>
        <pc:spChg chg="mod">
          <ac:chgData name="Sascha Plate" userId="ed8ff092-8995-4993-845b-21c8a164b889" providerId="ADAL" clId="{D5DE2EC5-D376-43A5-B900-7F060FA30BBF}" dt="2021-11-01T12:40:59.008" v="724"/>
          <ac:spMkLst>
            <pc:docMk/>
            <pc:sldMk cId="1866687839" sldId="1073"/>
            <ac:spMk id="40" creationId="{93AD439C-C1AC-4E9E-8A40-FC5A50908019}"/>
          </ac:spMkLst>
        </pc:spChg>
        <pc:spChg chg="mod">
          <ac:chgData name="Sascha Plate" userId="ed8ff092-8995-4993-845b-21c8a164b889" providerId="ADAL" clId="{D5DE2EC5-D376-43A5-B900-7F060FA30BBF}" dt="2021-11-01T12:40:59.008" v="724"/>
          <ac:spMkLst>
            <pc:docMk/>
            <pc:sldMk cId="1866687839" sldId="1073"/>
            <ac:spMk id="41" creationId="{E330B0CA-BF75-4582-96BD-C1B0768DCD65}"/>
          </ac:spMkLst>
        </pc:spChg>
        <pc:spChg chg="mod">
          <ac:chgData name="Sascha Plate" userId="ed8ff092-8995-4993-845b-21c8a164b889" providerId="ADAL" clId="{D5DE2EC5-D376-43A5-B900-7F060FA30BBF}" dt="2021-11-01T12:40:59.008" v="724"/>
          <ac:spMkLst>
            <pc:docMk/>
            <pc:sldMk cId="1866687839" sldId="1073"/>
            <ac:spMk id="42" creationId="{2602D407-8C54-48D2-BAA4-9000E9A1A324}"/>
          </ac:spMkLst>
        </pc:spChg>
        <pc:spChg chg="mod">
          <ac:chgData name="Sascha Plate" userId="ed8ff092-8995-4993-845b-21c8a164b889" providerId="ADAL" clId="{D5DE2EC5-D376-43A5-B900-7F060FA30BBF}" dt="2021-11-01T12:41:23.242" v="735"/>
          <ac:spMkLst>
            <pc:docMk/>
            <pc:sldMk cId="1866687839" sldId="1073"/>
            <ac:spMk id="44" creationId="{C0E83A6E-6260-42F2-A630-A07D6E68DAC5}"/>
          </ac:spMkLst>
        </pc:spChg>
        <pc:spChg chg="mod">
          <ac:chgData name="Sascha Plate" userId="ed8ff092-8995-4993-845b-21c8a164b889" providerId="ADAL" clId="{D5DE2EC5-D376-43A5-B900-7F060FA30BBF}" dt="2021-11-01T12:41:23.242" v="735"/>
          <ac:spMkLst>
            <pc:docMk/>
            <pc:sldMk cId="1866687839" sldId="1073"/>
            <ac:spMk id="45" creationId="{512B2053-D7A7-4FDB-AA81-C651932FD87C}"/>
          </ac:spMkLst>
        </pc:spChg>
        <pc:spChg chg="mod">
          <ac:chgData name="Sascha Plate" userId="ed8ff092-8995-4993-845b-21c8a164b889" providerId="ADAL" clId="{D5DE2EC5-D376-43A5-B900-7F060FA30BBF}" dt="2021-11-01T12:41:23.242" v="735"/>
          <ac:spMkLst>
            <pc:docMk/>
            <pc:sldMk cId="1866687839" sldId="1073"/>
            <ac:spMk id="46" creationId="{7D1EF024-AB7B-4636-85A7-C7A77C505F1E}"/>
          </ac:spMkLst>
        </pc:spChg>
        <pc:spChg chg="mod">
          <ac:chgData name="Sascha Plate" userId="ed8ff092-8995-4993-845b-21c8a164b889" providerId="ADAL" clId="{D5DE2EC5-D376-43A5-B900-7F060FA30BBF}" dt="2021-11-01T12:41:23.242" v="735"/>
          <ac:spMkLst>
            <pc:docMk/>
            <pc:sldMk cId="1866687839" sldId="1073"/>
            <ac:spMk id="47" creationId="{220785D7-5D24-4040-AC44-CE34CB1E8DCF}"/>
          </ac:spMkLst>
        </pc:spChg>
        <pc:grpChg chg="add mod">
          <ac:chgData name="Sascha Plate" userId="ed8ff092-8995-4993-845b-21c8a164b889" providerId="ADAL" clId="{D5DE2EC5-D376-43A5-B900-7F060FA30BBF}" dt="2021-11-01T12:40:48.159" v="721" actId="1076"/>
          <ac:grpSpMkLst>
            <pc:docMk/>
            <pc:sldMk cId="1866687839" sldId="1073"/>
            <ac:grpSpMk id="23" creationId="{C87BFDB8-4588-428F-812D-A3D03C4DFA61}"/>
          </ac:grpSpMkLst>
        </pc:grpChg>
        <pc:grpChg chg="add mod">
          <ac:chgData name="Sascha Plate" userId="ed8ff092-8995-4993-845b-21c8a164b889" providerId="ADAL" clId="{D5DE2EC5-D376-43A5-B900-7F060FA30BBF}" dt="2021-11-01T12:40:43.491" v="720" actId="1076"/>
          <ac:grpSpMkLst>
            <pc:docMk/>
            <pc:sldMk cId="1866687839" sldId="1073"/>
            <ac:grpSpMk id="28" creationId="{C6BD9AE1-3972-4F54-A2AB-C9698DA199AC}"/>
          </ac:grpSpMkLst>
        </pc:grpChg>
        <pc:grpChg chg="add mod">
          <ac:chgData name="Sascha Plate" userId="ed8ff092-8995-4993-845b-21c8a164b889" providerId="ADAL" clId="{D5DE2EC5-D376-43A5-B900-7F060FA30BBF}" dt="2021-11-01T12:40:57.843" v="723" actId="1076"/>
          <ac:grpSpMkLst>
            <pc:docMk/>
            <pc:sldMk cId="1866687839" sldId="1073"/>
            <ac:grpSpMk id="33" creationId="{88A4DC42-C1F7-40E8-8F2B-331146B9640C}"/>
          </ac:grpSpMkLst>
        </pc:grpChg>
        <pc:grpChg chg="add mod">
          <ac:chgData name="Sascha Plate" userId="ed8ff092-8995-4993-845b-21c8a164b889" providerId="ADAL" clId="{D5DE2EC5-D376-43A5-B900-7F060FA30BBF}" dt="2021-11-01T12:41:06.425" v="725" actId="1076"/>
          <ac:grpSpMkLst>
            <pc:docMk/>
            <pc:sldMk cId="1866687839" sldId="1073"/>
            <ac:grpSpMk id="38" creationId="{0309C939-0CE0-4C6A-8758-805704B051FE}"/>
          </ac:grpSpMkLst>
        </pc:grpChg>
        <pc:grpChg chg="add mod">
          <ac:chgData name="Sascha Plate" userId="ed8ff092-8995-4993-845b-21c8a164b889" providerId="ADAL" clId="{D5DE2EC5-D376-43A5-B900-7F060FA30BBF}" dt="2021-11-01T12:41:27.174" v="736" actId="1076"/>
          <ac:grpSpMkLst>
            <pc:docMk/>
            <pc:sldMk cId="1866687839" sldId="1073"/>
            <ac:grpSpMk id="43" creationId="{99EC53F5-F54E-4AFA-8BEC-FE814161CAEC}"/>
          </ac:grpSpMkLst>
        </pc:grpChg>
        <pc:graphicFrameChg chg="mod modGraphic">
          <ac:chgData name="Sascha Plate" userId="ed8ff092-8995-4993-845b-21c8a164b889" providerId="ADAL" clId="{D5DE2EC5-D376-43A5-B900-7F060FA30BBF}" dt="2021-11-01T12:41:18.132" v="734" actId="20577"/>
          <ac:graphicFrameMkLst>
            <pc:docMk/>
            <pc:sldMk cId="1866687839" sldId="1073"/>
            <ac:graphicFrameMk id="5" creationId="{0EAD61C2-0E9C-41EC-9BA6-E02A66A28720}"/>
          </ac:graphicFrameMkLst>
        </pc:graphicFrame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1"/>
            <a:ext cx="2971800" cy="484188"/>
          </a:xfrm>
          <a:prstGeom prst="rect">
            <a:avLst/>
          </a:prstGeom>
          <a:noFill/>
          <a:ln>
            <a:noFill/>
          </a:ln>
          <a:effectLst/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 sz="1200">
                <a:solidFill>
                  <a:schemeClr val="tx1"/>
                </a:solidFill>
                <a:latin typeface="Times" charset="0"/>
              </a:defRPr>
            </a:lvl1pPr>
          </a:lstStyle>
          <a:p>
            <a:endParaRPr lang="de-DE"/>
          </a:p>
        </p:txBody>
      </p:sp>
      <p:sp>
        <p:nvSpPr>
          <p:cNvPr id="6147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86200" y="1"/>
            <a:ext cx="2971800" cy="484188"/>
          </a:xfrm>
          <a:prstGeom prst="rect">
            <a:avLst/>
          </a:prstGeom>
          <a:noFill/>
          <a:ln>
            <a:noFill/>
          </a:ln>
          <a:effectLst/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chemeClr val="tx1"/>
                </a:solidFill>
                <a:latin typeface="Times" charset="0"/>
              </a:defRPr>
            </a:lvl1pPr>
          </a:lstStyle>
          <a:p>
            <a:endParaRPr lang="de-DE"/>
          </a:p>
        </p:txBody>
      </p:sp>
      <p:sp>
        <p:nvSpPr>
          <p:cNvPr id="6148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177339"/>
            <a:ext cx="2971800" cy="484186"/>
          </a:xfrm>
          <a:prstGeom prst="rect">
            <a:avLst/>
          </a:prstGeom>
          <a:noFill/>
          <a:ln>
            <a:noFill/>
          </a:ln>
          <a:effectLst/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>
              <a:defRPr sz="1200">
                <a:solidFill>
                  <a:schemeClr val="tx1"/>
                </a:solidFill>
                <a:latin typeface="Times" charset="0"/>
              </a:defRPr>
            </a:lvl1pPr>
          </a:lstStyle>
          <a:p>
            <a:endParaRPr lang="de-DE"/>
          </a:p>
        </p:txBody>
      </p:sp>
      <p:sp>
        <p:nvSpPr>
          <p:cNvPr id="6149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86200" y="9177339"/>
            <a:ext cx="2971800" cy="484186"/>
          </a:xfrm>
          <a:prstGeom prst="rect">
            <a:avLst/>
          </a:prstGeom>
          <a:noFill/>
          <a:ln>
            <a:noFill/>
          </a:ln>
          <a:effectLst/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chemeClr val="tx1"/>
                </a:solidFill>
                <a:latin typeface="Times" charset="0"/>
              </a:defRPr>
            </a:lvl1pPr>
          </a:lstStyle>
          <a:p>
            <a:fld id="{D54606BC-1185-6343-8CD4-1A7CC7DA3AB6}" type="slidenum">
              <a:rPr lang="de-DE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2394453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6" name="Rectangle 1028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-2079625" y="536575"/>
            <a:ext cx="11018838" cy="8266113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  <a:ext uri="{53640926-AAD7-44d8-BBD7-CCE9431645EC}">
              <a14:shadowObscured xmlns="" xmlns:a14="http://schemas.microsoft.com/office/drawing/2010/main" val="1"/>
            </a:ext>
          </a:extLst>
        </p:spPr>
      </p:sp>
      <p:sp>
        <p:nvSpPr>
          <p:cNvPr id="8197" name="Rectangle 1029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285750" y="8910638"/>
            <a:ext cx="6286500" cy="430213"/>
          </a:xfrm>
          <a:prstGeom prst="rect">
            <a:avLst/>
          </a:prstGeom>
          <a:noFill/>
          <a:ln>
            <a:noFill/>
          </a:ln>
          <a:effectLst/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/>
              <a:t>Klicken Sie, um die Textformatierung des Masters zu bearbeiten.</a:t>
            </a:r>
          </a:p>
        </p:txBody>
      </p:sp>
    </p:spTree>
    <p:extLst>
      <p:ext uri="{BB962C8B-B14F-4D97-AF65-F5344CB8AC3E}">
        <p14:creationId xmlns:p14="http://schemas.microsoft.com/office/powerpoint/2010/main" val="1612218178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ctr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Syntax" charset="0"/>
        <a:ea typeface="ＭＳ Ｐゴシック" charset="0"/>
        <a:cs typeface="+mn-cs"/>
      </a:defRPr>
    </a:lvl1pPr>
    <a:lvl2pPr marL="457200" algn="ctr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Syntax" charset="0"/>
        <a:ea typeface="ＭＳ Ｐゴシック" charset="0"/>
        <a:cs typeface="+mn-cs"/>
      </a:defRPr>
    </a:lvl2pPr>
    <a:lvl3pPr marL="914400" algn="ctr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Syntax" charset="0"/>
        <a:ea typeface="ＭＳ Ｐゴシック" charset="0"/>
        <a:cs typeface="+mn-cs"/>
      </a:defRPr>
    </a:lvl3pPr>
    <a:lvl4pPr marL="1371600" algn="ctr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Syntax" charset="0"/>
        <a:ea typeface="ＭＳ Ｐゴシック" charset="0"/>
        <a:cs typeface="+mn-cs"/>
      </a:defRPr>
    </a:lvl4pPr>
    <a:lvl5pPr marL="1828800" algn="ctr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Syntax" charset="0"/>
        <a:ea typeface="ＭＳ Ｐゴシック" charset="0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349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  <a:extLst>
            <a:ext uri="{FAA26D3D-D897-4be2-8F04-BA451C77F1D7}">
              <ma14:placeholderFlag xmlns="" xmlns:ma14="http://schemas.microsoft.com/office/mac/drawingml/2011/main" val="1"/>
            </a:ext>
          </a:extLst>
        </p:spPr>
      </p:sp>
      <p:sp>
        <p:nvSpPr>
          <p:cNvPr id="70349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0601268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9282921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4600290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0960457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4419645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5070539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8849785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2549061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5599340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5587045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4840237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0618273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jpe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jpeg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60" name="Picture 64" descr="Fotolia_2596290_XL duplex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07" b="11909"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58" name="Picture 62" descr="Kästchen-blau-breit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011" t="65588"/>
          <a:stretch>
            <a:fillRect/>
          </a:stretch>
        </p:blipFill>
        <p:spPr bwMode="auto">
          <a:xfrm>
            <a:off x="0" y="0"/>
            <a:ext cx="8647113" cy="1114425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117" name="Rectangle 21"/>
          <p:cNvSpPr>
            <a:spLocks noGrp="1" noChangeArrowheads="1"/>
          </p:cNvSpPr>
          <p:nvPr>
            <p:ph type="ctrTitle" sz="quarter"/>
          </p:nvPr>
        </p:nvSpPr>
        <p:spPr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accent2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noProof="0"/>
              <a:t>Mastertitelformat bearbeiten</a:t>
            </a:r>
          </a:p>
        </p:txBody>
      </p:sp>
      <p:sp>
        <p:nvSpPr>
          <p:cNvPr id="8" name="Abgerundetes Rechteck 2"/>
          <p:cNvSpPr/>
          <p:nvPr userDrawn="1"/>
        </p:nvSpPr>
        <p:spPr bwMode="auto">
          <a:xfrm>
            <a:off x="7024687" y="5947200"/>
            <a:ext cx="2119313" cy="910800"/>
          </a:xfrm>
          <a:custGeom>
            <a:avLst/>
            <a:gdLst>
              <a:gd name="connsiteX0" fmla="*/ 0 w 2632783"/>
              <a:gd name="connsiteY0" fmla="*/ 392918 h 1260000"/>
              <a:gd name="connsiteX1" fmla="*/ 392918 w 2632783"/>
              <a:gd name="connsiteY1" fmla="*/ 0 h 1260000"/>
              <a:gd name="connsiteX2" fmla="*/ 2239865 w 2632783"/>
              <a:gd name="connsiteY2" fmla="*/ 0 h 1260000"/>
              <a:gd name="connsiteX3" fmla="*/ 2632783 w 2632783"/>
              <a:gd name="connsiteY3" fmla="*/ 392918 h 1260000"/>
              <a:gd name="connsiteX4" fmla="*/ 2632783 w 2632783"/>
              <a:gd name="connsiteY4" fmla="*/ 867082 h 1260000"/>
              <a:gd name="connsiteX5" fmla="*/ 2239865 w 2632783"/>
              <a:gd name="connsiteY5" fmla="*/ 1260000 h 1260000"/>
              <a:gd name="connsiteX6" fmla="*/ 392918 w 2632783"/>
              <a:gd name="connsiteY6" fmla="*/ 1260000 h 1260000"/>
              <a:gd name="connsiteX7" fmla="*/ 0 w 2632783"/>
              <a:gd name="connsiteY7" fmla="*/ 867082 h 1260000"/>
              <a:gd name="connsiteX8" fmla="*/ 0 w 2632783"/>
              <a:gd name="connsiteY8" fmla="*/ 392918 h 1260000"/>
              <a:gd name="connsiteX0" fmla="*/ 0 w 2632783"/>
              <a:gd name="connsiteY0" fmla="*/ 392918 h 1260000"/>
              <a:gd name="connsiteX1" fmla="*/ 392918 w 2632783"/>
              <a:gd name="connsiteY1" fmla="*/ 0 h 1260000"/>
              <a:gd name="connsiteX2" fmla="*/ 2239865 w 2632783"/>
              <a:gd name="connsiteY2" fmla="*/ 0 h 1260000"/>
              <a:gd name="connsiteX3" fmla="*/ 2407700 w 2632783"/>
              <a:gd name="connsiteY3" fmla="*/ 392918 h 1260000"/>
              <a:gd name="connsiteX4" fmla="*/ 2632783 w 2632783"/>
              <a:gd name="connsiteY4" fmla="*/ 867082 h 1260000"/>
              <a:gd name="connsiteX5" fmla="*/ 2239865 w 2632783"/>
              <a:gd name="connsiteY5" fmla="*/ 1260000 h 1260000"/>
              <a:gd name="connsiteX6" fmla="*/ 392918 w 2632783"/>
              <a:gd name="connsiteY6" fmla="*/ 1260000 h 1260000"/>
              <a:gd name="connsiteX7" fmla="*/ 0 w 2632783"/>
              <a:gd name="connsiteY7" fmla="*/ 867082 h 1260000"/>
              <a:gd name="connsiteX8" fmla="*/ 0 w 2632783"/>
              <a:gd name="connsiteY8" fmla="*/ 392918 h 1260000"/>
              <a:gd name="connsiteX0" fmla="*/ 0 w 2632783"/>
              <a:gd name="connsiteY0" fmla="*/ 392918 h 1260000"/>
              <a:gd name="connsiteX1" fmla="*/ 392918 w 2632783"/>
              <a:gd name="connsiteY1" fmla="*/ 0 h 1260000"/>
              <a:gd name="connsiteX2" fmla="*/ 2239865 w 2632783"/>
              <a:gd name="connsiteY2" fmla="*/ 0 h 1260000"/>
              <a:gd name="connsiteX3" fmla="*/ 2407700 w 2632783"/>
              <a:gd name="connsiteY3" fmla="*/ 392918 h 1260000"/>
              <a:gd name="connsiteX4" fmla="*/ 2632783 w 2632783"/>
              <a:gd name="connsiteY4" fmla="*/ 867082 h 1260000"/>
              <a:gd name="connsiteX5" fmla="*/ 2239865 w 2632783"/>
              <a:gd name="connsiteY5" fmla="*/ 1260000 h 1260000"/>
              <a:gd name="connsiteX6" fmla="*/ 392918 w 2632783"/>
              <a:gd name="connsiteY6" fmla="*/ 1260000 h 1260000"/>
              <a:gd name="connsiteX7" fmla="*/ 0 w 2632783"/>
              <a:gd name="connsiteY7" fmla="*/ 867082 h 1260000"/>
              <a:gd name="connsiteX8" fmla="*/ 0 w 2632783"/>
              <a:gd name="connsiteY8" fmla="*/ 392918 h 1260000"/>
              <a:gd name="connsiteX0" fmla="*/ 0 w 2632783"/>
              <a:gd name="connsiteY0" fmla="*/ 392918 h 1260000"/>
              <a:gd name="connsiteX1" fmla="*/ 392918 w 2632783"/>
              <a:gd name="connsiteY1" fmla="*/ 0 h 1260000"/>
              <a:gd name="connsiteX2" fmla="*/ 2239865 w 2632783"/>
              <a:gd name="connsiteY2" fmla="*/ 0 h 1260000"/>
              <a:gd name="connsiteX3" fmla="*/ 2407700 w 2632783"/>
              <a:gd name="connsiteY3" fmla="*/ 392918 h 1260000"/>
              <a:gd name="connsiteX4" fmla="*/ 2632783 w 2632783"/>
              <a:gd name="connsiteY4" fmla="*/ 867082 h 1260000"/>
              <a:gd name="connsiteX5" fmla="*/ 2239865 w 2632783"/>
              <a:gd name="connsiteY5" fmla="*/ 1260000 h 1260000"/>
              <a:gd name="connsiteX6" fmla="*/ 392918 w 2632783"/>
              <a:gd name="connsiteY6" fmla="*/ 1260000 h 1260000"/>
              <a:gd name="connsiteX7" fmla="*/ 0 w 2632783"/>
              <a:gd name="connsiteY7" fmla="*/ 867082 h 1260000"/>
              <a:gd name="connsiteX8" fmla="*/ 0 w 2632783"/>
              <a:gd name="connsiteY8" fmla="*/ 392918 h 1260000"/>
              <a:gd name="connsiteX0" fmla="*/ 2632783 w 2632783"/>
              <a:gd name="connsiteY0" fmla="*/ 867082 h 1260000"/>
              <a:gd name="connsiteX1" fmla="*/ 2239865 w 2632783"/>
              <a:gd name="connsiteY1" fmla="*/ 1260000 h 1260000"/>
              <a:gd name="connsiteX2" fmla="*/ 392918 w 2632783"/>
              <a:gd name="connsiteY2" fmla="*/ 1260000 h 1260000"/>
              <a:gd name="connsiteX3" fmla="*/ 0 w 2632783"/>
              <a:gd name="connsiteY3" fmla="*/ 867082 h 1260000"/>
              <a:gd name="connsiteX4" fmla="*/ 0 w 2632783"/>
              <a:gd name="connsiteY4" fmla="*/ 392918 h 1260000"/>
              <a:gd name="connsiteX5" fmla="*/ 392918 w 2632783"/>
              <a:gd name="connsiteY5" fmla="*/ 0 h 1260000"/>
              <a:gd name="connsiteX6" fmla="*/ 2239865 w 2632783"/>
              <a:gd name="connsiteY6" fmla="*/ 0 h 1260000"/>
              <a:gd name="connsiteX7" fmla="*/ 2499140 w 2632783"/>
              <a:gd name="connsiteY7" fmla="*/ 484358 h 1260000"/>
              <a:gd name="connsiteX0" fmla="*/ 2239865 w 2499140"/>
              <a:gd name="connsiteY0" fmla="*/ 1260000 h 1260000"/>
              <a:gd name="connsiteX1" fmla="*/ 392918 w 2499140"/>
              <a:gd name="connsiteY1" fmla="*/ 1260000 h 1260000"/>
              <a:gd name="connsiteX2" fmla="*/ 0 w 2499140"/>
              <a:gd name="connsiteY2" fmla="*/ 867082 h 1260000"/>
              <a:gd name="connsiteX3" fmla="*/ 0 w 2499140"/>
              <a:gd name="connsiteY3" fmla="*/ 392918 h 1260000"/>
              <a:gd name="connsiteX4" fmla="*/ 392918 w 2499140"/>
              <a:gd name="connsiteY4" fmla="*/ 0 h 1260000"/>
              <a:gd name="connsiteX5" fmla="*/ 2239865 w 2499140"/>
              <a:gd name="connsiteY5" fmla="*/ 0 h 1260000"/>
              <a:gd name="connsiteX6" fmla="*/ 2499140 w 2499140"/>
              <a:gd name="connsiteY6" fmla="*/ 484358 h 1260000"/>
              <a:gd name="connsiteX0" fmla="*/ 2239865 w 2239865"/>
              <a:gd name="connsiteY0" fmla="*/ 1260000 h 1260000"/>
              <a:gd name="connsiteX1" fmla="*/ 392918 w 2239865"/>
              <a:gd name="connsiteY1" fmla="*/ 1260000 h 1260000"/>
              <a:gd name="connsiteX2" fmla="*/ 0 w 2239865"/>
              <a:gd name="connsiteY2" fmla="*/ 867082 h 1260000"/>
              <a:gd name="connsiteX3" fmla="*/ 0 w 2239865"/>
              <a:gd name="connsiteY3" fmla="*/ 392918 h 1260000"/>
              <a:gd name="connsiteX4" fmla="*/ 392918 w 2239865"/>
              <a:gd name="connsiteY4" fmla="*/ 0 h 1260000"/>
              <a:gd name="connsiteX5" fmla="*/ 2239865 w 2239865"/>
              <a:gd name="connsiteY5" fmla="*/ 0 h 1260000"/>
              <a:gd name="connsiteX0" fmla="*/ 2239865 w 2239865"/>
              <a:gd name="connsiteY0" fmla="*/ 1260000 h 1260000"/>
              <a:gd name="connsiteX1" fmla="*/ 0 w 2239865"/>
              <a:gd name="connsiteY1" fmla="*/ 867082 h 1260000"/>
              <a:gd name="connsiteX2" fmla="*/ 0 w 2239865"/>
              <a:gd name="connsiteY2" fmla="*/ 392918 h 1260000"/>
              <a:gd name="connsiteX3" fmla="*/ 392918 w 2239865"/>
              <a:gd name="connsiteY3" fmla="*/ 0 h 1260000"/>
              <a:gd name="connsiteX4" fmla="*/ 2239865 w 2239865"/>
              <a:gd name="connsiteY4" fmla="*/ 0 h 1260000"/>
              <a:gd name="connsiteX0" fmla="*/ 2239865 w 2239865"/>
              <a:gd name="connsiteY0" fmla="*/ 894240 h 894240"/>
              <a:gd name="connsiteX1" fmla="*/ 0 w 2239865"/>
              <a:gd name="connsiteY1" fmla="*/ 867082 h 894240"/>
              <a:gd name="connsiteX2" fmla="*/ 0 w 2239865"/>
              <a:gd name="connsiteY2" fmla="*/ 392918 h 894240"/>
              <a:gd name="connsiteX3" fmla="*/ 392918 w 2239865"/>
              <a:gd name="connsiteY3" fmla="*/ 0 h 894240"/>
              <a:gd name="connsiteX4" fmla="*/ 2239865 w 2239865"/>
              <a:gd name="connsiteY4" fmla="*/ 0 h 894240"/>
              <a:gd name="connsiteX0" fmla="*/ 2253933 w 2253933"/>
              <a:gd name="connsiteY0" fmla="*/ 873139 h 873139"/>
              <a:gd name="connsiteX1" fmla="*/ 0 w 2253933"/>
              <a:gd name="connsiteY1" fmla="*/ 867082 h 873139"/>
              <a:gd name="connsiteX2" fmla="*/ 0 w 2253933"/>
              <a:gd name="connsiteY2" fmla="*/ 392918 h 873139"/>
              <a:gd name="connsiteX3" fmla="*/ 392918 w 2253933"/>
              <a:gd name="connsiteY3" fmla="*/ 0 h 873139"/>
              <a:gd name="connsiteX4" fmla="*/ 2239865 w 2253933"/>
              <a:gd name="connsiteY4" fmla="*/ 0 h 873139"/>
              <a:gd name="connsiteX0" fmla="*/ 2253933 w 2253933"/>
              <a:gd name="connsiteY0" fmla="*/ 873139 h 909285"/>
              <a:gd name="connsiteX1" fmla="*/ 0 w 2253933"/>
              <a:gd name="connsiteY1" fmla="*/ 909285 h 909285"/>
              <a:gd name="connsiteX2" fmla="*/ 0 w 2253933"/>
              <a:gd name="connsiteY2" fmla="*/ 392918 h 909285"/>
              <a:gd name="connsiteX3" fmla="*/ 392918 w 2253933"/>
              <a:gd name="connsiteY3" fmla="*/ 0 h 909285"/>
              <a:gd name="connsiteX4" fmla="*/ 2239865 w 2253933"/>
              <a:gd name="connsiteY4" fmla="*/ 0 h 909285"/>
              <a:gd name="connsiteX0" fmla="*/ 2113256 w 2239865"/>
              <a:gd name="connsiteY0" fmla="*/ 922376 h 922376"/>
              <a:gd name="connsiteX1" fmla="*/ 0 w 2239865"/>
              <a:gd name="connsiteY1" fmla="*/ 909285 h 922376"/>
              <a:gd name="connsiteX2" fmla="*/ 0 w 2239865"/>
              <a:gd name="connsiteY2" fmla="*/ 392918 h 922376"/>
              <a:gd name="connsiteX3" fmla="*/ 392918 w 2239865"/>
              <a:gd name="connsiteY3" fmla="*/ 0 h 922376"/>
              <a:gd name="connsiteX4" fmla="*/ 2239865 w 2239865"/>
              <a:gd name="connsiteY4" fmla="*/ 0 h 922376"/>
              <a:gd name="connsiteX0" fmla="*/ 2113256 w 2113256"/>
              <a:gd name="connsiteY0" fmla="*/ 922376 h 922376"/>
              <a:gd name="connsiteX1" fmla="*/ 0 w 2113256"/>
              <a:gd name="connsiteY1" fmla="*/ 909285 h 922376"/>
              <a:gd name="connsiteX2" fmla="*/ 0 w 2113256"/>
              <a:gd name="connsiteY2" fmla="*/ 392918 h 922376"/>
              <a:gd name="connsiteX3" fmla="*/ 392918 w 2113256"/>
              <a:gd name="connsiteY3" fmla="*/ 0 h 922376"/>
              <a:gd name="connsiteX4" fmla="*/ 2099188 w 2113256"/>
              <a:gd name="connsiteY4" fmla="*/ 0 h 922376"/>
              <a:gd name="connsiteX0" fmla="*/ 2113256 w 2148425"/>
              <a:gd name="connsiteY0" fmla="*/ 922376 h 922376"/>
              <a:gd name="connsiteX1" fmla="*/ 0 w 2148425"/>
              <a:gd name="connsiteY1" fmla="*/ 909285 h 922376"/>
              <a:gd name="connsiteX2" fmla="*/ 0 w 2148425"/>
              <a:gd name="connsiteY2" fmla="*/ 392918 h 922376"/>
              <a:gd name="connsiteX3" fmla="*/ 392918 w 2148425"/>
              <a:gd name="connsiteY3" fmla="*/ 0 h 922376"/>
              <a:gd name="connsiteX4" fmla="*/ 2148425 w 2148425"/>
              <a:gd name="connsiteY4" fmla="*/ 0 h 922376"/>
              <a:gd name="connsiteX0" fmla="*/ 2113256 w 2113256"/>
              <a:gd name="connsiteY0" fmla="*/ 936444 h 936444"/>
              <a:gd name="connsiteX1" fmla="*/ 0 w 2113256"/>
              <a:gd name="connsiteY1" fmla="*/ 923353 h 936444"/>
              <a:gd name="connsiteX2" fmla="*/ 0 w 2113256"/>
              <a:gd name="connsiteY2" fmla="*/ 406986 h 936444"/>
              <a:gd name="connsiteX3" fmla="*/ 392918 w 2113256"/>
              <a:gd name="connsiteY3" fmla="*/ 14068 h 936444"/>
              <a:gd name="connsiteX4" fmla="*/ 2085120 w 2113256"/>
              <a:gd name="connsiteY4" fmla="*/ 0 h 936444"/>
              <a:gd name="connsiteX0" fmla="*/ 2113256 w 2127323"/>
              <a:gd name="connsiteY0" fmla="*/ 936444 h 936444"/>
              <a:gd name="connsiteX1" fmla="*/ 0 w 2127323"/>
              <a:gd name="connsiteY1" fmla="*/ 923353 h 936444"/>
              <a:gd name="connsiteX2" fmla="*/ 0 w 2127323"/>
              <a:gd name="connsiteY2" fmla="*/ 406986 h 936444"/>
              <a:gd name="connsiteX3" fmla="*/ 392918 w 2127323"/>
              <a:gd name="connsiteY3" fmla="*/ 14068 h 936444"/>
              <a:gd name="connsiteX4" fmla="*/ 2127323 w 2127323"/>
              <a:gd name="connsiteY4" fmla="*/ 0 h 936444"/>
              <a:gd name="connsiteX0" fmla="*/ 2134357 w 2134357"/>
              <a:gd name="connsiteY0" fmla="*/ 915343 h 923353"/>
              <a:gd name="connsiteX1" fmla="*/ 0 w 2134357"/>
              <a:gd name="connsiteY1" fmla="*/ 923353 h 923353"/>
              <a:gd name="connsiteX2" fmla="*/ 0 w 2134357"/>
              <a:gd name="connsiteY2" fmla="*/ 406986 h 923353"/>
              <a:gd name="connsiteX3" fmla="*/ 392918 w 2134357"/>
              <a:gd name="connsiteY3" fmla="*/ 14068 h 923353"/>
              <a:gd name="connsiteX4" fmla="*/ 2127323 w 2134357"/>
              <a:gd name="connsiteY4" fmla="*/ 0 h 923353"/>
              <a:gd name="connsiteX0" fmla="*/ 2134357 w 2134357"/>
              <a:gd name="connsiteY0" fmla="*/ 901275 h 909285"/>
              <a:gd name="connsiteX1" fmla="*/ 0 w 2134357"/>
              <a:gd name="connsiteY1" fmla="*/ 909285 h 909285"/>
              <a:gd name="connsiteX2" fmla="*/ 0 w 2134357"/>
              <a:gd name="connsiteY2" fmla="*/ 392918 h 909285"/>
              <a:gd name="connsiteX3" fmla="*/ 392918 w 2134357"/>
              <a:gd name="connsiteY3" fmla="*/ 0 h 909285"/>
              <a:gd name="connsiteX4" fmla="*/ 2132119 w 2134357"/>
              <a:gd name="connsiteY4" fmla="*/ 219 h 909285"/>
              <a:gd name="connsiteX0" fmla="*/ 2134357 w 2134357"/>
              <a:gd name="connsiteY0" fmla="*/ 910800 h 910800"/>
              <a:gd name="connsiteX1" fmla="*/ 0 w 2134357"/>
              <a:gd name="connsiteY1" fmla="*/ 909285 h 910800"/>
              <a:gd name="connsiteX2" fmla="*/ 0 w 2134357"/>
              <a:gd name="connsiteY2" fmla="*/ 392918 h 910800"/>
              <a:gd name="connsiteX3" fmla="*/ 392918 w 2134357"/>
              <a:gd name="connsiteY3" fmla="*/ 0 h 910800"/>
              <a:gd name="connsiteX4" fmla="*/ 2132119 w 2134357"/>
              <a:gd name="connsiteY4" fmla="*/ 219 h 910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34357" h="910800">
                <a:moveTo>
                  <a:pt x="2134357" y="910800"/>
                </a:moveTo>
                <a:lnTo>
                  <a:pt x="0" y="909285"/>
                </a:lnTo>
                <a:lnTo>
                  <a:pt x="0" y="392918"/>
                </a:lnTo>
                <a:cubicBezTo>
                  <a:pt x="0" y="175915"/>
                  <a:pt x="175915" y="0"/>
                  <a:pt x="392918" y="0"/>
                </a:cubicBezTo>
                <a:lnTo>
                  <a:pt x="2132119" y="219"/>
                </a:lnTo>
              </a:path>
            </a:pathLst>
          </a:custGeom>
          <a:solidFill>
            <a:schemeClr val="bg1"/>
          </a:solidFill>
          <a:ln w="1270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500" b="0" i="0" u="none" strike="noStrike" cap="none" normalizeH="0" baseline="0">
              <a:ln>
                <a:noFill/>
              </a:ln>
              <a:solidFill>
                <a:srgbClr val="0028AD"/>
              </a:solidFill>
              <a:effectLst/>
              <a:latin typeface="Arial" charset="0"/>
            </a:endParaRPr>
          </a:p>
        </p:txBody>
      </p:sp>
      <p:pic>
        <p:nvPicPr>
          <p:cNvPr id="4154" name="Picture 58" descr="Logo-RGB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3138" y="6134100"/>
            <a:ext cx="1323975" cy="407988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p:transition>
    <p:dissolv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2312842609"/>
      </p:ext>
    </p:extLst>
  </p:cSld>
  <p:clrMapOvr>
    <a:masterClrMapping/>
  </p:clrMapOvr>
  <p:transition>
    <p:dissolv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6629400" y="188913"/>
            <a:ext cx="2017713" cy="5949950"/>
          </a:xfrm>
        </p:spPr>
        <p:txBody>
          <a:bodyPr vert="eaVert"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573088" y="188913"/>
            <a:ext cx="5903912" cy="5949950"/>
          </a:xfrm>
        </p:spPr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2729846560"/>
      </p:ext>
    </p:extLst>
  </p:cSld>
  <p:clrMapOvr>
    <a:masterClrMapping/>
  </p:clrMapOvr>
  <p:transition>
    <p:dissolv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73088" y="-1"/>
            <a:ext cx="8074025" cy="1100065"/>
          </a:xfrm>
        </p:spPr>
        <p:txBody>
          <a:bodyPr anchor="ctr"/>
          <a:lstStyle>
            <a:lvl1pPr algn="l">
              <a:defRPr/>
            </a:lvl1pPr>
          </a:lstStyle>
          <a:p>
            <a:r>
              <a:rPr lang="de-DE" dirty="0"/>
              <a:t>Mastertitelformat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4EB6BC4B-94D9-4A33-9FA5-3FCD7B6A4E1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73087" y="1100064"/>
            <a:ext cx="8074025" cy="633486"/>
          </a:xfrm>
        </p:spPr>
        <p:txBody>
          <a:bodyPr anchor="ctr"/>
          <a:lstStyle>
            <a:lvl1pPr marL="0" indent="0">
              <a:buNone/>
              <a:defRPr sz="1800" b="1">
                <a:solidFill>
                  <a:schemeClr val="accent6">
                    <a:lumMod val="75000"/>
                  </a:schemeClr>
                </a:solidFill>
              </a:defRPr>
            </a:lvl1pPr>
            <a:lvl2pPr marL="379413" indent="0">
              <a:buNone/>
              <a:defRPr/>
            </a:lvl2pPr>
            <a:lvl3pPr marL="855663" indent="0">
              <a:buNone/>
              <a:defRPr/>
            </a:lvl3pPr>
            <a:lvl4pPr marL="1274763" indent="0">
              <a:buNone/>
              <a:defRPr/>
            </a:lvl4pPr>
            <a:lvl5pPr marL="1693863" indent="0">
              <a:buNone/>
              <a:defRPr/>
            </a:lvl5pPr>
          </a:lstStyle>
          <a:p>
            <a:pPr lvl="0"/>
            <a:r>
              <a:rPr lang="de-DE" dirty="0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18090909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60" name="Picture 64" descr="Fotolia_2596290_XL duplex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07" b="11909"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58" name="Picture 62" descr="Kästchen-blau-breit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011" t="65588"/>
          <a:stretch>
            <a:fillRect/>
          </a:stretch>
        </p:blipFill>
        <p:spPr bwMode="auto">
          <a:xfrm>
            <a:off x="0" y="0"/>
            <a:ext cx="8647113" cy="1114425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117" name="Rectangle 21"/>
          <p:cNvSpPr>
            <a:spLocks noGrp="1" noChangeArrowheads="1"/>
          </p:cNvSpPr>
          <p:nvPr>
            <p:ph type="ctrTitle" sz="quarter"/>
          </p:nvPr>
        </p:nvSpPr>
        <p:spPr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accent2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noProof="0"/>
              <a:t>Mastertitelformat bearbeiten</a:t>
            </a:r>
          </a:p>
        </p:txBody>
      </p:sp>
      <p:sp>
        <p:nvSpPr>
          <p:cNvPr id="8" name="Abgerundetes Rechteck 2"/>
          <p:cNvSpPr/>
          <p:nvPr userDrawn="1"/>
        </p:nvSpPr>
        <p:spPr bwMode="auto">
          <a:xfrm>
            <a:off x="7024687" y="5947200"/>
            <a:ext cx="2119313" cy="910800"/>
          </a:xfrm>
          <a:custGeom>
            <a:avLst/>
            <a:gdLst>
              <a:gd name="connsiteX0" fmla="*/ 0 w 2632783"/>
              <a:gd name="connsiteY0" fmla="*/ 392918 h 1260000"/>
              <a:gd name="connsiteX1" fmla="*/ 392918 w 2632783"/>
              <a:gd name="connsiteY1" fmla="*/ 0 h 1260000"/>
              <a:gd name="connsiteX2" fmla="*/ 2239865 w 2632783"/>
              <a:gd name="connsiteY2" fmla="*/ 0 h 1260000"/>
              <a:gd name="connsiteX3" fmla="*/ 2632783 w 2632783"/>
              <a:gd name="connsiteY3" fmla="*/ 392918 h 1260000"/>
              <a:gd name="connsiteX4" fmla="*/ 2632783 w 2632783"/>
              <a:gd name="connsiteY4" fmla="*/ 867082 h 1260000"/>
              <a:gd name="connsiteX5" fmla="*/ 2239865 w 2632783"/>
              <a:gd name="connsiteY5" fmla="*/ 1260000 h 1260000"/>
              <a:gd name="connsiteX6" fmla="*/ 392918 w 2632783"/>
              <a:gd name="connsiteY6" fmla="*/ 1260000 h 1260000"/>
              <a:gd name="connsiteX7" fmla="*/ 0 w 2632783"/>
              <a:gd name="connsiteY7" fmla="*/ 867082 h 1260000"/>
              <a:gd name="connsiteX8" fmla="*/ 0 w 2632783"/>
              <a:gd name="connsiteY8" fmla="*/ 392918 h 1260000"/>
              <a:gd name="connsiteX0" fmla="*/ 0 w 2632783"/>
              <a:gd name="connsiteY0" fmla="*/ 392918 h 1260000"/>
              <a:gd name="connsiteX1" fmla="*/ 392918 w 2632783"/>
              <a:gd name="connsiteY1" fmla="*/ 0 h 1260000"/>
              <a:gd name="connsiteX2" fmla="*/ 2239865 w 2632783"/>
              <a:gd name="connsiteY2" fmla="*/ 0 h 1260000"/>
              <a:gd name="connsiteX3" fmla="*/ 2407700 w 2632783"/>
              <a:gd name="connsiteY3" fmla="*/ 392918 h 1260000"/>
              <a:gd name="connsiteX4" fmla="*/ 2632783 w 2632783"/>
              <a:gd name="connsiteY4" fmla="*/ 867082 h 1260000"/>
              <a:gd name="connsiteX5" fmla="*/ 2239865 w 2632783"/>
              <a:gd name="connsiteY5" fmla="*/ 1260000 h 1260000"/>
              <a:gd name="connsiteX6" fmla="*/ 392918 w 2632783"/>
              <a:gd name="connsiteY6" fmla="*/ 1260000 h 1260000"/>
              <a:gd name="connsiteX7" fmla="*/ 0 w 2632783"/>
              <a:gd name="connsiteY7" fmla="*/ 867082 h 1260000"/>
              <a:gd name="connsiteX8" fmla="*/ 0 w 2632783"/>
              <a:gd name="connsiteY8" fmla="*/ 392918 h 1260000"/>
              <a:gd name="connsiteX0" fmla="*/ 0 w 2632783"/>
              <a:gd name="connsiteY0" fmla="*/ 392918 h 1260000"/>
              <a:gd name="connsiteX1" fmla="*/ 392918 w 2632783"/>
              <a:gd name="connsiteY1" fmla="*/ 0 h 1260000"/>
              <a:gd name="connsiteX2" fmla="*/ 2239865 w 2632783"/>
              <a:gd name="connsiteY2" fmla="*/ 0 h 1260000"/>
              <a:gd name="connsiteX3" fmla="*/ 2407700 w 2632783"/>
              <a:gd name="connsiteY3" fmla="*/ 392918 h 1260000"/>
              <a:gd name="connsiteX4" fmla="*/ 2632783 w 2632783"/>
              <a:gd name="connsiteY4" fmla="*/ 867082 h 1260000"/>
              <a:gd name="connsiteX5" fmla="*/ 2239865 w 2632783"/>
              <a:gd name="connsiteY5" fmla="*/ 1260000 h 1260000"/>
              <a:gd name="connsiteX6" fmla="*/ 392918 w 2632783"/>
              <a:gd name="connsiteY6" fmla="*/ 1260000 h 1260000"/>
              <a:gd name="connsiteX7" fmla="*/ 0 w 2632783"/>
              <a:gd name="connsiteY7" fmla="*/ 867082 h 1260000"/>
              <a:gd name="connsiteX8" fmla="*/ 0 w 2632783"/>
              <a:gd name="connsiteY8" fmla="*/ 392918 h 1260000"/>
              <a:gd name="connsiteX0" fmla="*/ 0 w 2632783"/>
              <a:gd name="connsiteY0" fmla="*/ 392918 h 1260000"/>
              <a:gd name="connsiteX1" fmla="*/ 392918 w 2632783"/>
              <a:gd name="connsiteY1" fmla="*/ 0 h 1260000"/>
              <a:gd name="connsiteX2" fmla="*/ 2239865 w 2632783"/>
              <a:gd name="connsiteY2" fmla="*/ 0 h 1260000"/>
              <a:gd name="connsiteX3" fmla="*/ 2407700 w 2632783"/>
              <a:gd name="connsiteY3" fmla="*/ 392918 h 1260000"/>
              <a:gd name="connsiteX4" fmla="*/ 2632783 w 2632783"/>
              <a:gd name="connsiteY4" fmla="*/ 867082 h 1260000"/>
              <a:gd name="connsiteX5" fmla="*/ 2239865 w 2632783"/>
              <a:gd name="connsiteY5" fmla="*/ 1260000 h 1260000"/>
              <a:gd name="connsiteX6" fmla="*/ 392918 w 2632783"/>
              <a:gd name="connsiteY6" fmla="*/ 1260000 h 1260000"/>
              <a:gd name="connsiteX7" fmla="*/ 0 w 2632783"/>
              <a:gd name="connsiteY7" fmla="*/ 867082 h 1260000"/>
              <a:gd name="connsiteX8" fmla="*/ 0 w 2632783"/>
              <a:gd name="connsiteY8" fmla="*/ 392918 h 1260000"/>
              <a:gd name="connsiteX0" fmla="*/ 2632783 w 2632783"/>
              <a:gd name="connsiteY0" fmla="*/ 867082 h 1260000"/>
              <a:gd name="connsiteX1" fmla="*/ 2239865 w 2632783"/>
              <a:gd name="connsiteY1" fmla="*/ 1260000 h 1260000"/>
              <a:gd name="connsiteX2" fmla="*/ 392918 w 2632783"/>
              <a:gd name="connsiteY2" fmla="*/ 1260000 h 1260000"/>
              <a:gd name="connsiteX3" fmla="*/ 0 w 2632783"/>
              <a:gd name="connsiteY3" fmla="*/ 867082 h 1260000"/>
              <a:gd name="connsiteX4" fmla="*/ 0 w 2632783"/>
              <a:gd name="connsiteY4" fmla="*/ 392918 h 1260000"/>
              <a:gd name="connsiteX5" fmla="*/ 392918 w 2632783"/>
              <a:gd name="connsiteY5" fmla="*/ 0 h 1260000"/>
              <a:gd name="connsiteX6" fmla="*/ 2239865 w 2632783"/>
              <a:gd name="connsiteY6" fmla="*/ 0 h 1260000"/>
              <a:gd name="connsiteX7" fmla="*/ 2499140 w 2632783"/>
              <a:gd name="connsiteY7" fmla="*/ 484358 h 1260000"/>
              <a:gd name="connsiteX0" fmla="*/ 2239865 w 2499140"/>
              <a:gd name="connsiteY0" fmla="*/ 1260000 h 1260000"/>
              <a:gd name="connsiteX1" fmla="*/ 392918 w 2499140"/>
              <a:gd name="connsiteY1" fmla="*/ 1260000 h 1260000"/>
              <a:gd name="connsiteX2" fmla="*/ 0 w 2499140"/>
              <a:gd name="connsiteY2" fmla="*/ 867082 h 1260000"/>
              <a:gd name="connsiteX3" fmla="*/ 0 w 2499140"/>
              <a:gd name="connsiteY3" fmla="*/ 392918 h 1260000"/>
              <a:gd name="connsiteX4" fmla="*/ 392918 w 2499140"/>
              <a:gd name="connsiteY4" fmla="*/ 0 h 1260000"/>
              <a:gd name="connsiteX5" fmla="*/ 2239865 w 2499140"/>
              <a:gd name="connsiteY5" fmla="*/ 0 h 1260000"/>
              <a:gd name="connsiteX6" fmla="*/ 2499140 w 2499140"/>
              <a:gd name="connsiteY6" fmla="*/ 484358 h 1260000"/>
              <a:gd name="connsiteX0" fmla="*/ 2239865 w 2239865"/>
              <a:gd name="connsiteY0" fmla="*/ 1260000 h 1260000"/>
              <a:gd name="connsiteX1" fmla="*/ 392918 w 2239865"/>
              <a:gd name="connsiteY1" fmla="*/ 1260000 h 1260000"/>
              <a:gd name="connsiteX2" fmla="*/ 0 w 2239865"/>
              <a:gd name="connsiteY2" fmla="*/ 867082 h 1260000"/>
              <a:gd name="connsiteX3" fmla="*/ 0 w 2239865"/>
              <a:gd name="connsiteY3" fmla="*/ 392918 h 1260000"/>
              <a:gd name="connsiteX4" fmla="*/ 392918 w 2239865"/>
              <a:gd name="connsiteY4" fmla="*/ 0 h 1260000"/>
              <a:gd name="connsiteX5" fmla="*/ 2239865 w 2239865"/>
              <a:gd name="connsiteY5" fmla="*/ 0 h 1260000"/>
              <a:gd name="connsiteX0" fmla="*/ 2239865 w 2239865"/>
              <a:gd name="connsiteY0" fmla="*/ 1260000 h 1260000"/>
              <a:gd name="connsiteX1" fmla="*/ 0 w 2239865"/>
              <a:gd name="connsiteY1" fmla="*/ 867082 h 1260000"/>
              <a:gd name="connsiteX2" fmla="*/ 0 w 2239865"/>
              <a:gd name="connsiteY2" fmla="*/ 392918 h 1260000"/>
              <a:gd name="connsiteX3" fmla="*/ 392918 w 2239865"/>
              <a:gd name="connsiteY3" fmla="*/ 0 h 1260000"/>
              <a:gd name="connsiteX4" fmla="*/ 2239865 w 2239865"/>
              <a:gd name="connsiteY4" fmla="*/ 0 h 1260000"/>
              <a:gd name="connsiteX0" fmla="*/ 2239865 w 2239865"/>
              <a:gd name="connsiteY0" fmla="*/ 894240 h 894240"/>
              <a:gd name="connsiteX1" fmla="*/ 0 w 2239865"/>
              <a:gd name="connsiteY1" fmla="*/ 867082 h 894240"/>
              <a:gd name="connsiteX2" fmla="*/ 0 w 2239865"/>
              <a:gd name="connsiteY2" fmla="*/ 392918 h 894240"/>
              <a:gd name="connsiteX3" fmla="*/ 392918 w 2239865"/>
              <a:gd name="connsiteY3" fmla="*/ 0 h 894240"/>
              <a:gd name="connsiteX4" fmla="*/ 2239865 w 2239865"/>
              <a:gd name="connsiteY4" fmla="*/ 0 h 894240"/>
              <a:gd name="connsiteX0" fmla="*/ 2253933 w 2253933"/>
              <a:gd name="connsiteY0" fmla="*/ 873139 h 873139"/>
              <a:gd name="connsiteX1" fmla="*/ 0 w 2253933"/>
              <a:gd name="connsiteY1" fmla="*/ 867082 h 873139"/>
              <a:gd name="connsiteX2" fmla="*/ 0 w 2253933"/>
              <a:gd name="connsiteY2" fmla="*/ 392918 h 873139"/>
              <a:gd name="connsiteX3" fmla="*/ 392918 w 2253933"/>
              <a:gd name="connsiteY3" fmla="*/ 0 h 873139"/>
              <a:gd name="connsiteX4" fmla="*/ 2239865 w 2253933"/>
              <a:gd name="connsiteY4" fmla="*/ 0 h 873139"/>
              <a:gd name="connsiteX0" fmla="*/ 2253933 w 2253933"/>
              <a:gd name="connsiteY0" fmla="*/ 873139 h 909285"/>
              <a:gd name="connsiteX1" fmla="*/ 0 w 2253933"/>
              <a:gd name="connsiteY1" fmla="*/ 909285 h 909285"/>
              <a:gd name="connsiteX2" fmla="*/ 0 w 2253933"/>
              <a:gd name="connsiteY2" fmla="*/ 392918 h 909285"/>
              <a:gd name="connsiteX3" fmla="*/ 392918 w 2253933"/>
              <a:gd name="connsiteY3" fmla="*/ 0 h 909285"/>
              <a:gd name="connsiteX4" fmla="*/ 2239865 w 2253933"/>
              <a:gd name="connsiteY4" fmla="*/ 0 h 909285"/>
              <a:gd name="connsiteX0" fmla="*/ 2113256 w 2239865"/>
              <a:gd name="connsiteY0" fmla="*/ 922376 h 922376"/>
              <a:gd name="connsiteX1" fmla="*/ 0 w 2239865"/>
              <a:gd name="connsiteY1" fmla="*/ 909285 h 922376"/>
              <a:gd name="connsiteX2" fmla="*/ 0 w 2239865"/>
              <a:gd name="connsiteY2" fmla="*/ 392918 h 922376"/>
              <a:gd name="connsiteX3" fmla="*/ 392918 w 2239865"/>
              <a:gd name="connsiteY3" fmla="*/ 0 h 922376"/>
              <a:gd name="connsiteX4" fmla="*/ 2239865 w 2239865"/>
              <a:gd name="connsiteY4" fmla="*/ 0 h 922376"/>
              <a:gd name="connsiteX0" fmla="*/ 2113256 w 2113256"/>
              <a:gd name="connsiteY0" fmla="*/ 922376 h 922376"/>
              <a:gd name="connsiteX1" fmla="*/ 0 w 2113256"/>
              <a:gd name="connsiteY1" fmla="*/ 909285 h 922376"/>
              <a:gd name="connsiteX2" fmla="*/ 0 w 2113256"/>
              <a:gd name="connsiteY2" fmla="*/ 392918 h 922376"/>
              <a:gd name="connsiteX3" fmla="*/ 392918 w 2113256"/>
              <a:gd name="connsiteY3" fmla="*/ 0 h 922376"/>
              <a:gd name="connsiteX4" fmla="*/ 2099188 w 2113256"/>
              <a:gd name="connsiteY4" fmla="*/ 0 h 922376"/>
              <a:gd name="connsiteX0" fmla="*/ 2113256 w 2148425"/>
              <a:gd name="connsiteY0" fmla="*/ 922376 h 922376"/>
              <a:gd name="connsiteX1" fmla="*/ 0 w 2148425"/>
              <a:gd name="connsiteY1" fmla="*/ 909285 h 922376"/>
              <a:gd name="connsiteX2" fmla="*/ 0 w 2148425"/>
              <a:gd name="connsiteY2" fmla="*/ 392918 h 922376"/>
              <a:gd name="connsiteX3" fmla="*/ 392918 w 2148425"/>
              <a:gd name="connsiteY3" fmla="*/ 0 h 922376"/>
              <a:gd name="connsiteX4" fmla="*/ 2148425 w 2148425"/>
              <a:gd name="connsiteY4" fmla="*/ 0 h 922376"/>
              <a:gd name="connsiteX0" fmla="*/ 2113256 w 2113256"/>
              <a:gd name="connsiteY0" fmla="*/ 936444 h 936444"/>
              <a:gd name="connsiteX1" fmla="*/ 0 w 2113256"/>
              <a:gd name="connsiteY1" fmla="*/ 923353 h 936444"/>
              <a:gd name="connsiteX2" fmla="*/ 0 w 2113256"/>
              <a:gd name="connsiteY2" fmla="*/ 406986 h 936444"/>
              <a:gd name="connsiteX3" fmla="*/ 392918 w 2113256"/>
              <a:gd name="connsiteY3" fmla="*/ 14068 h 936444"/>
              <a:gd name="connsiteX4" fmla="*/ 2085120 w 2113256"/>
              <a:gd name="connsiteY4" fmla="*/ 0 h 936444"/>
              <a:gd name="connsiteX0" fmla="*/ 2113256 w 2127323"/>
              <a:gd name="connsiteY0" fmla="*/ 936444 h 936444"/>
              <a:gd name="connsiteX1" fmla="*/ 0 w 2127323"/>
              <a:gd name="connsiteY1" fmla="*/ 923353 h 936444"/>
              <a:gd name="connsiteX2" fmla="*/ 0 w 2127323"/>
              <a:gd name="connsiteY2" fmla="*/ 406986 h 936444"/>
              <a:gd name="connsiteX3" fmla="*/ 392918 w 2127323"/>
              <a:gd name="connsiteY3" fmla="*/ 14068 h 936444"/>
              <a:gd name="connsiteX4" fmla="*/ 2127323 w 2127323"/>
              <a:gd name="connsiteY4" fmla="*/ 0 h 936444"/>
              <a:gd name="connsiteX0" fmla="*/ 2134357 w 2134357"/>
              <a:gd name="connsiteY0" fmla="*/ 915343 h 923353"/>
              <a:gd name="connsiteX1" fmla="*/ 0 w 2134357"/>
              <a:gd name="connsiteY1" fmla="*/ 923353 h 923353"/>
              <a:gd name="connsiteX2" fmla="*/ 0 w 2134357"/>
              <a:gd name="connsiteY2" fmla="*/ 406986 h 923353"/>
              <a:gd name="connsiteX3" fmla="*/ 392918 w 2134357"/>
              <a:gd name="connsiteY3" fmla="*/ 14068 h 923353"/>
              <a:gd name="connsiteX4" fmla="*/ 2127323 w 2134357"/>
              <a:gd name="connsiteY4" fmla="*/ 0 h 923353"/>
              <a:gd name="connsiteX0" fmla="*/ 2134357 w 2134357"/>
              <a:gd name="connsiteY0" fmla="*/ 901275 h 909285"/>
              <a:gd name="connsiteX1" fmla="*/ 0 w 2134357"/>
              <a:gd name="connsiteY1" fmla="*/ 909285 h 909285"/>
              <a:gd name="connsiteX2" fmla="*/ 0 w 2134357"/>
              <a:gd name="connsiteY2" fmla="*/ 392918 h 909285"/>
              <a:gd name="connsiteX3" fmla="*/ 392918 w 2134357"/>
              <a:gd name="connsiteY3" fmla="*/ 0 h 909285"/>
              <a:gd name="connsiteX4" fmla="*/ 2132119 w 2134357"/>
              <a:gd name="connsiteY4" fmla="*/ 219 h 909285"/>
              <a:gd name="connsiteX0" fmla="*/ 2134357 w 2134357"/>
              <a:gd name="connsiteY0" fmla="*/ 910800 h 910800"/>
              <a:gd name="connsiteX1" fmla="*/ 0 w 2134357"/>
              <a:gd name="connsiteY1" fmla="*/ 909285 h 910800"/>
              <a:gd name="connsiteX2" fmla="*/ 0 w 2134357"/>
              <a:gd name="connsiteY2" fmla="*/ 392918 h 910800"/>
              <a:gd name="connsiteX3" fmla="*/ 392918 w 2134357"/>
              <a:gd name="connsiteY3" fmla="*/ 0 h 910800"/>
              <a:gd name="connsiteX4" fmla="*/ 2132119 w 2134357"/>
              <a:gd name="connsiteY4" fmla="*/ 219 h 910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34357" h="910800">
                <a:moveTo>
                  <a:pt x="2134357" y="910800"/>
                </a:moveTo>
                <a:lnTo>
                  <a:pt x="0" y="909285"/>
                </a:lnTo>
                <a:lnTo>
                  <a:pt x="0" y="392918"/>
                </a:lnTo>
                <a:cubicBezTo>
                  <a:pt x="0" y="175915"/>
                  <a:pt x="175915" y="0"/>
                  <a:pt x="392918" y="0"/>
                </a:cubicBezTo>
                <a:lnTo>
                  <a:pt x="2132119" y="219"/>
                </a:lnTo>
              </a:path>
            </a:pathLst>
          </a:custGeom>
          <a:solidFill>
            <a:schemeClr val="bg1"/>
          </a:solidFill>
          <a:ln w="1270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500" b="0" i="0" u="none" strike="noStrike" cap="none" normalizeH="0" baseline="0">
              <a:ln>
                <a:noFill/>
              </a:ln>
              <a:solidFill>
                <a:srgbClr val="0028AD"/>
              </a:solidFill>
              <a:effectLst/>
              <a:latin typeface="Arial" charset="0"/>
            </a:endParaRPr>
          </a:p>
        </p:txBody>
      </p:sp>
      <p:pic>
        <p:nvPicPr>
          <p:cNvPr id="4154" name="Picture 58" descr="Logo-RGB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3138" y="6134100"/>
            <a:ext cx="1323975" cy="407988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29578493"/>
      </p:ext>
    </p:extLst>
  </p:cSld>
  <p:clrMapOvr>
    <a:masterClrMapping/>
  </p:clrMapOvr>
  <p:transition>
    <p:dissolv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2823883256"/>
      </p:ext>
    </p:extLst>
  </p:cSld>
  <p:clrMapOvr>
    <a:masterClrMapping/>
  </p:clrMapOvr>
  <p:transition>
    <p:dissolv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043352288"/>
      </p:ext>
    </p:extLst>
  </p:cSld>
  <p:clrMapOvr>
    <a:masterClrMapping/>
  </p:clrMapOvr>
  <p:transition>
    <p:dissolv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582613" y="1733550"/>
            <a:ext cx="3956050" cy="44053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91063" y="1733550"/>
            <a:ext cx="3956050" cy="44053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3906530802"/>
      </p:ext>
    </p:extLst>
  </p:cSld>
  <p:clrMapOvr>
    <a:masterClrMapping/>
  </p:clrMapOvr>
  <p:transition>
    <p:dissolv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3579645348"/>
      </p:ext>
    </p:extLst>
  </p:cSld>
  <p:clrMapOvr>
    <a:masterClrMapping/>
  </p:clrMapOvr>
  <p:transition>
    <p:dissolv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998222561"/>
      </p:ext>
    </p:extLst>
  </p:cSld>
  <p:clrMapOvr>
    <a:masterClrMapping/>
  </p:clrMapOvr>
  <p:transition>
    <p:dissolv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54189134"/>
      </p:ext>
    </p:extLst>
  </p:cSld>
  <p:clrMapOvr>
    <a:masterClrMapping/>
  </p:clrMapOvr>
  <p:transition>
    <p:dissolv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451353095"/>
      </p:ext>
    </p:extLst>
  </p:cSld>
  <p:clrMapOvr>
    <a:masterClrMapping/>
  </p:clrMapOvr>
  <p:transition>
    <p:dissolv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Beschrif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86645887"/>
      </p:ext>
    </p:extLst>
  </p:cSld>
  <p:clrMapOvr>
    <a:masterClrMapping/>
  </p:clrMapOvr>
  <p:transition>
    <p:dissolv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Beschrif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478024177"/>
      </p:ext>
    </p:extLst>
  </p:cSld>
  <p:clrMapOvr>
    <a:masterClrMapping/>
  </p:clrMapOvr>
  <p:transition>
    <p:dissolv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879742768"/>
      </p:ext>
    </p:extLst>
  </p:cSld>
  <p:clrMapOvr>
    <a:masterClrMapping/>
  </p:clrMapOvr>
  <p:transition>
    <p:dissolv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6629400" y="188913"/>
            <a:ext cx="2017713" cy="5949950"/>
          </a:xfrm>
        </p:spPr>
        <p:txBody>
          <a:bodyPr vert="eaVert"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573088" y="188913"/>
            <a:ext cx="5903912" cy="5949950"/>
          </a:xfrm>
        </p:spPr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498065169"/>
      </p:ext>
    </p:extLst>
  </p:cSld>
  <p:clrMapOvr>
    <a:masterClrMapping/>
  </p:clrMapOvr>
  <p:transition>
    <p:dissolv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73088" y="-1"/>
            <a:ext cx="8074025" cy="1100065"/>
          </a:xfrm>
        </p:spPr>
        <p:txBody>
          <a:bodyPr anchor="ctr"/>
          <a:lstStyle>
            <a:lvl1pPr algn="l">
              <a:defRPr/>
            </a:lvl1pPr>
          </a:lstStyle>
          <a:p>
            <a:r>
              <a:rPr lang="de-DE" dirty="0"/>
              <a:t>Mastertitelformat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4EB6BC4B-94D9-4A33-9FA5-3FCD7B6A4E1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73087" y="1100064"/>
            <a:ext cx="8074025" cy="633486"/>
          </a:xfrm>
        </p:spPr>
        <p:txBody>
          <a:bodyPr anchor="ctr"/>
          <a:lstStyle>
            <a:lvl1pPr marL="0" indent="0">
              <a:buNone/>
              <a:defRPr sz="1800" b="1">
                <a:solidFill>
                  <a:schemeClr val="accent6">
                    <a:lumMod val="75000"/>
                  </a:schemeClr>
                </a:solidFill>
              </a:defRPr>
            </a:lvl1pPr>
            <a:lvl2pPr marL="379413" indent="0">
              <a:buNone/>
              <a:defRPr/>
            </a:lvl2pPr>
            <a:lvl3pPr marL="855663" indent="0">
              <a:buNone/>
              <a:defRPr/>
            </a:lvl3pPr>
            <a:lvl4pPr marL="1274763" indent="0">
              <a:buNone/>
              <a:defRPr/>
            </a:lvl4pPr>
            <a:lvl5pPr marL="1693863" indent="0">
              <a:buNone/>
              <a:defRPr/>
            </a:lvl5pPr>
          </a:lstStyle>
          <a:p>
            <a:pPr lvl="0"/>
            <a:r>
              <a:rPr lang="de-DE" dirty="0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10359627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862383123"/>
      </p:ext>
    </p:extLst>
  </p:cSld>
  <p:clrMapOvr>
    <a:masterClrMapping/>
  </p:clrMapOvr>
  <p:transition>
    <p:dissolv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582613" y="1733550"/>
            <a:ext cx="3956050" cy="44053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91063" y="1733550"/>
            <a:ext cx="3956050" cy="44053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407955830"/>
      </p:ext>
    </p:extLst>
  </p:cSld>
  <p:clrMapOvr>
    <a:masterClrMapping/>
  </p:clrMapOvr>
  <p:transition>
    <p:dissolv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422727315"/>
      </p:ext>
    </p:extLst>
  </p:cSld>
  <p:clrMapOvr>
    <a:masterClrMapping/>
  </p:clrMapOvr>
  <p:transition>
    <p:dissolv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4204615124"/>
      </p:ext>
    </p:extLst>
  </p:cSld>
  <p:clrMapOvr>
    <a:masterClrMapping/>
  </p:clrMapOvr>
  <p:transition>
    <p:dissolv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51585892"/>
      </p:ext>
    </p:extLst>
  </p:cSld>
  <p:clrMapOvr>
    <a:masterClrMapping/>
  </p:clrMapOvr>
  <p:transition>
    <p:dissolv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Beschrif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200676727"/>
      </p:ext>
    </p:extLst>
  </p:cSld>
  <p:clrMapOvr>
    <a:masterClrMapping/>
  </p:clrMapOvr>
  <p:transition>
    <p:dissolv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Beschrif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581849936"/>
      </p:ext>
    </p:extLst>
  </p:cSld>
  <p:clrMapOvr>
    <a:masterClrMapping/>
  </p:clrMapOvr>
  <p:transition>
    <p:dissolv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3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2" Type="http://schemas.openxmlformats.org/officeDocument/2006/relationships/slideLayout" Target="../slideLayouts/slideLayout14.xml"/><Relationship Id="rId16" Type="http://schemas.openxmlformats.org/officeDocument/2006/relationships/image" Target="../media/image3.jpeg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78" name="Picture 154" descr="Kästchen-blau-breit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011" t="65588"/>
          <a:stretch>
            <a:fillRect/>
          </a:stretch>
        </p:blipFill>
        <p:spPr bwMode="auto">
          <a:xfrm>
            <a:off x="0" y="0"/>
            <a:ext cx="8647113" cy="1114425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12" name="Rectangle 88"/>
          <p:cNvSpPr>
            <a:spLocks noGrp="1" noChangeArrowheads="1"/>
          </p:cNvSpPr>
          <p:nvPr>
            <p:ph type="title"/>
          </p:nvPr>
        </p:nvSpPr>
        <p:spPr bwMode="auto">
          <a:xfrm>
            <a:off x="573088" y="188913"/>
            <a:ext cx="8074025" cy="365125"/>
          </a:xfrm>
          <a:prstGeom prst="rect">
            <a:avLst/>
          </a:prstGeom>
          <a:noFill/>
          <a:ln>
            <a:noFill/>
          </a:ln>
          <a:effectLst/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de-DE"/>
              <a:t>Mastertitelformat bearbeiten</a:t>
            </a:r>
          </a:p>
        </p:txBody>
      </p:sp>
      <p:sp>
        <p:nvSpPr>
          <p:cNvPr id="1173" name="Text Box 149"/>
          <p:cNvSpPr txBox="1">
            <a:spLocks noChangeArrowheads="1"/>
          </p:cNvSpPr>
          <p:nvPr/>
        </p:nvSpPr>
        <p:spPr bwMode="auto">
          <a:xfrm>
            <a:off x="582613" y="6297613"/>
            <a:ext cx="4108450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algn="l">
              <a:spcBef>
                <a:spcPct val="50000"/>
              </a:spcBef>
            </a:pPr>
            <a:r>
              <a:rPr lang="de-DE" sz="800" dirty="0">
                <a:solidFill>
                  <a:schemeClr val="tx1"/>
                </a:solidFill>
              </a:rPr>
              <a:t>Titel des Vortrags</a:t>
            </a:r>
            <a:br>
              <a:rPr lang="de-DE" sz="800" dirty="0">
                <a:solidFill>
                  <a:schemeClr val="tx1"/>
                </a:solidFill>
              </a:rPr>
            </a:br>
            <a:r>
              <a:rPr lang="de-DE" sz="800" b="0" dirty="0">
                <a:solidFill>
                  <a:schemeClr val="tx1"/>
                </a:solidFill>
              </a:rPr>
              <a:t>Name</a:t>
            </a:r>
            <a:r>
              <a:rPr lang="de-DE" sz="800" b="1" dirty="0">
                <a:solidFill>
                  <a:schemeClr val="tx1"/>
                </a:solidFill>
              </a:rPr>
              <a:t>, </a:t>
            </a:r>
            <a:r>
              <a:rPr lang="de-DE" sz="800" b="0" dirty="0">
                <a:solidFill>
                  <a:schemeClr val="tx1"/>
                </a:solidFill>
              </a:rPr>
              <a:t>Datum, Folie </a:t>
            </a:r>
            <a:fld id="{44BA279E-E9BC-D743-974C-EFE8A41952FB}" type="slidenum">
              <a:rPr lang="de-DE" sz="800" smtClean="0">
                <a:solidFill>
                  <a:schemeClr val="tx1"/>
                </a:solidFill>
              </a:rPr>
              <a:pPr algn="l">
                <a:spcBef>
                  <a:spcPct val="50000"/>
                </a:spcBef>
              </a:pPr>
              <a:t>‹Nr.›</a:t>
            </a:fld>
            <a:endParaRPr lang="de-DE" sz="800" dirty="0">
              <a:solidFill>
                <a:schemeClr val="tx1"/>
              </a:solidFill>
            </a:endParaRPr>
          </a:p>
        </p:txBody>
      </p:sp>
      <p:grpSp>
        <p:nvGrpSpPr>
          <p:cNvPr id="1175" name="Group 151"/>
          <p:cNvGrpSpPr>
            <a:grpSpLocks/>
          </p:cNvGrpSpPr>
          <p:nvPr/>
        </p:nvGrpSpPr>
        <p:grpSpPr bwMode="auto">
          <a:xfrm>
            <a:off x="7024688" y="5949950"/>
            <a:ext cx="2119312" cy="908050"/>
            <a:chOff x="4425" y="3748"/>
            <a:chExt cx="1335" cy="572"/>
          </a:xfrm>
        </p:grpSpPr>
        <p:pic>
          <p:nvPicPr>
            <p:cNvPr id="1176" name="Picture 152" descr="Kästchen-weiss"/>
            <p:cNvPicPr>
              <a:picLocks noChangeAspect="1" noChangeArrowheads="1"/>
            </p:cNvPicPr>
            <p:nvPr userDrawn="1"/>
          </p:nvPicPr>
          <p:blipFill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26407" b="68468"/>
            <a:stretch>
              <a:fillRect/>
            </a:stretch>
          </p:blipFill>
          <p:spPr bwMode="auto">
            <a:xfrm>
              <a:off x="4425" y="3748"/>
              <a:ext cx="1335" cy="572"/>
            </a:xfrm>
            <a:prstGeom prst="rect">
              <a:avLst/>
            </a:prstGeom>
            <a:noFill/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177" name="Picture 153" descr="Logo-RGB"/>
            <p:cNvPicPr>
              <a:picLocks noChangeAspect="1" noChangeArrowheads="1"/>
            </p:cNvPicPr>
            <p:nvPr userDrawn="1"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13" y="3864"/>
              <a:ext cx="834" cy="257"/>
            </a:xfrm>
            <a:prstGeom prst="rect">
              <a:avLst/>
            </a:prstGeom>
            <a:noFill/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179" name="Rectangle 155"/>
          <p:cNvSpPr>
            <a:spLocks noGrp="1" noChangeArrowheads="1"/>
          </p:cNvSpPr>
          <p:nvPr>
            <p:ph type="body" idx="1"/>
          </p:nvPr>
        </p:nvSpPr>
        <p:spPr bwMode="auto">
          <a:xfrm>
            <a:off x="582613" y="1733550"/>
            <a:ext cx="8064500" cy="4405313"/>
          </a:xfrm>
          <a:prstGeom prst="rect">
            <a:avLst/>
          </a:prstGeom>
          <a:noFill/>
          <a:ln>
            <a:noFill/>
          </a:ln>
          <a:effectLst/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/>
              <a:t>Hier klicken, um Master-Textformat zu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74" r:id="rId12"/>
  </p:sldLayoutIdLst>
  <p:transition>
    <p:dissolve/>
  </p:transition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5pPr>
      <a:lvl6pPr marL="457200"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6pPr>
      <a:lvl7pPr marL="914400"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7pPr>
      <a:lvl8pPr marL="1371600"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8pPr>
      <a:lvl9pPr marL="1828800"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9pPr>
    </p:titleStyle>
    <p:bodyStyle>
      <a:lvl1pPr marL="188913" indent="-188913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665163" indent="-28575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2pPr>
      <a:lvl3pPr marL="1084263" indent="-22860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3pPr>
      <a:lvl4pPr marL="1503363" indent="-22860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4pPr>
      <a:lvl5pPr marL="1922463" indent="-22860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5pPr>
      <a:lvl6pPr marL="2379663" indent="-22860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6pPr>
      <a:lvl7pPr marL="2836863" indent="-22860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7pPr>
      <a:lvl8pPr marL="3294063" indent="-22860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8pPr>
      <a:lvl9pPr marL="3751263" indent="-22860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78" name="Picture 154" descr="Kästchen-blau-breit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011" t="65588"/>
          <a:stretch>
            <a:fillRect/>
          </a:stretch>
        </p:blipFill>
        <p:spPr bwMode="auto">
          <a:xfrm>
            <a:off x="0" y="0"/>
            <a:ext cx="8647113" cy="1114425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12" name="Rectangle 88"/>
          <p:cNvSpPr>
            <a:spLocks noGrp="1" noChangeArrowheads="1"/>
          </p:cNvSpPr>
          <p:nvPr>
            <p:ph type="title"/>
          </p:nvPr>
        </p:nvSpPr>
        <p:spPr bwMode="auto">
          <a:xfrm>
            <a:off x="573088" y="188913"/>
            <a:ext cx="8074025" cy="365125"/>
          </a:xfrm>
          <a:prstGeom prst="rect">
            <a:avLst/>
          </a:prstGeom>
          <a:noFill/>
          <a:ln>
            <a:noFill/>
          </a:ln>
          <a:effectLst/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de-DE"/>
              <a:t>Mastertitelformat bearbeiten</a:t>
            </a:r>
          </a:p>
        </p:txBody>
      </p:sp>
      <p:sp>
        <p:nvSpPr>
          <p:cNvPr id="1173" name="Text Box 149"/>
          <p:cNvSpPr txBox="1">
            <a:spLocks noChangeArrowheads="1"/>
          </p:cNvSpPr>
          <p:nvPr/>
        </p:nvSpPr>
        <p:spPr bwMode="auto">
          <a:xfrm>
            <a:off x="582613" y="6297613"/>
            <a:ext cx="4108450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algn="l">
              <a:spcBef>
                <a:spcPct val="50000"/>
              </a:spcBef>
            </a:pPr>
            <a:r>
              <a:rPr lang="de-DE" sz="800" dirty="0">
                <a:solidFill>
                  <a:schemeClr val="tx1"/>
                </a:solidFill>
              </a:rPr>
              <a:t>Titel des Vortrags</a:t>
            </a:r>
            <a:br>
              <a:rPr lang="de-DE" sz="800" dirty="0">
                <a:solidFill>
                  <a:schemeClr val="tx1"/>
                </a:solidFill>
              </a:rPr>
            </a:br>
            <a:r>
              <a:rPr lang="de-DE" sz="800" b="0" dirty="0">
                <a:solidFill>
                  <a:schemeClr val="tx1"/>
                </a:solidFill>
              </a:rPr>
              <a:t>Name</a:t>
            </a:r>
            <a:r>
              <a:rPr lang="de-DE" sz="800" b="1" dirty="0">
                <a:solidFill>
                  <a:schemeClr val="tx1"/>
                </a:solidFill>
              </a:rPr>
              <a:t>, </a:t>
            </a:r>
            <a:r>
              <a:rPr lang="de-DE" sz="800" b="0" dirty="0">
                <a:solidFill>
                  <a:schemeClr val="tx1"/>
                </a:solidFill>
              </a:rPr>
              <a:t>Datum, Folie </a:t>
            </a:r>
            <a:fld id="{44BA279E-E9BC-D743-974C-EFE8A41952FB}" type="slidenum">
              <a:rPr lang="de-DE" sz="800" smtClean="0">
                <a:solidFill>
                  <a:schemeClr val="tx1"/>
                </a:solidFill>
              </a:rPr>
              <a:pPr algn="l">
                <a:spcBef>
                  <a:spcPct val="50000"/>
                </a:spcBef>
              </a:pPr>
              <a:t>‹Nr.›</a:t>
            </a:fld>
            <a:endParaRPr lang="de-DE" sz="800" dirty="0">
              <a:solidFill>
                <a:schemeClr val="tx1"/>
              </a:solidFill>
            </a:endParaRPr>
          </a:p>
        </p:txBody>
      </p:sp>
      <p:grpSp>
        <p:nvGrpSpPr>
          <p:cNvPr id="1175" name="Group 151"/>
          <p:cNvGrpSpPr>
            <a:grpSpLocks/>
          </p:cNvGrpSpPr>
          <p:nvPr/>
        </p:nvGrpSpPr>
        <p:grpSpPr bwMode="auto">
          <a:xfrm>
            <a:off x="7024688" y="5949950"/>
            <a:ext cx="2119312" cy="908050"/>
            <a:chOff x="4425" y="3748"/>
            <a:chExt cx="1335" cy="572"/>
          </a:xfrm>
        </p:grpSpPr>
        <p:pic>
          <p:nvPicPr>
            <p:cNvPr id="1176" name="Picture 152" descr="Kästchen-weiss"/>
            <p:cNvPicPr>
              <a:picLocks noChangeAspect="1" noChangeArrowheads="1"/>
            </p:cNvPicPr>
            <p:nvPr userDrawn="1"/>
          </p:nvPicPr>
          <p:blipFill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26407" b="68468"/>
            <a:stretch>
              <a:fillRect/>
            </a:stretch>
          </p:blipFill>
          <p:spPr bwMode="auto">
            <a:xfrm>
              <a:off x="4425" y="3748"/>
              <a:ext cx="1335" cy="572"/>
            </a:xfrm>
            <a:prstGeom prst="rect">
              <a:avLst/>
            </a:prstGeom>
            <a:noFill/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177" name="Picture 153" descr="Logo-RGB"/>
            <p:cNvPicPr>
              <a:picLocks noChangeAspect="1" noChangeArrowheads="1"/>
            </p:cNvPicPr>
            <p:nvPr userDrawn="1"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13" y="3864"/>
              <a:ext cx="834" cy="257"/>
            </a:xfrm>
            <a:prstGeom prst="rect">
              <a:avLst/>
            </a:prstGeom>
            <a:noFill/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179" name="Rectangle 155"/>
          <p:cNvSpPr>
            <a:spLocks noGrp="1" noChangeArrowheads="1"/>
          </p:cNvSpPr>
          <p:nvPr>
            <p:ph type="body" idx="1"/>
          </p:nvPr>
        </p:nvSpPr>
        <p:spPr bwMode="auto">
          <a:xfrm>
            <a:off x="582613" y="1733550"/>
            <a:ext cx="8064500" cy="4405313"/>
          </a:xfrm>
          <a:prstGeom prst="rect">
            <a:avLst/>
          </a:prstGeom>
          <a:noFill/>
          <a:ln>
            <a:noFill/>
          </a:ln>
          <a:effectLst/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/>
              <a:t>Hier klicken, um Master-Textformat zu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8345220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3" r:id="rId12"/>
  </p:sldLayoutIdLst>
  <p:transition>
    <p:dissolve/>
  </p:transition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5pPr>
      <a:lvl6pPr marL="457200"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6pPr>
      <a:lvl7pPr marL="914400"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7pPr>
      <a:lvl8pPr marL="1371600"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8pPr>
      <a:lvl9pPr marL="1828800"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9pPr>
    </p:titleStyle>
    <p:bodyStyle>
      <a:lvl1pPr marL="188913" indent="-188913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665163" indent="-28575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2pPr>
      <a:lvl3pPr marL="1084263" indent="-22860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3pPr>
      <a:lvl4pPr marL="1503363" indent="-22860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4pPr>
      <a:lvl5pPr marL="1922463" indent="-22860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5pPr>
      <a:lvl6pPr marL="2379663" indent="-22860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6pPr>
      <a:lvl7pPr marL="2836863" indent="-22860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7pPr>
      <a:lvl8pPr marL="3294063" indent="-22860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8pPr>
      <a:lvl9pPr marL="3751263" indent="-22860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3" Type="http://schemas.openxmlformats.org/officeDocument/2006/relationships/tags" Target="../tags/tag81.xml"/><Relationship Id="rId18" Type="http://schemas.openxmlformats.org/officeDocument/2006/relationships/tags" Target="../tags/tag86.xml"/><Relationship Id="rId26" Type="http://schemas.openxmlformats.org/officeDocument/2006/relationships/tags" Target="../tags/tag94.xml"/><Relationship Id="rId3" Type="http://schemas.openxmlformats.org/officeDocument/2006/relationships/tags" Target="../tags/tag71.xml"/><Relationship Id="rId21" Type="http://schemas.openxmlformats.org/officeDocument/2006/relationships/tags" Target="../tags/tag89.xml"/><Relationship Id="rId7" Type="http://schemas.openxmlformats.org/officeDocument/2006/relationships/tags" Target="../tags/tag75.xml"/><Relationship Id="rId12" Type="http://schemas.openxmlformats.org/officeDocument/2006/relationships/tags" Target="../tags/tag80.xml"/><Relationship Id="rId17" Type="http://schemas.openxmlformats.org/officeDocument/2006/relationships/tags" Target="../tags/tag85.xml"/><Relationship Id="rId25" Type="http://schemas.openxmlformats.org/officeDocument/2006/relationships/tags" Target="../tags/tag93.xml"/><Relationship Id="rId33" Type="http://schemas.openxmlformats.org/officeDocument/2006/relationships/slideLayout" Target="../slideLayouts/slideLayout12.xml"/><Relationship Id="rId2" Type="http://schemas.openxmlformats.org/officeDocument/2006/relationships/tags" Target="../tags/tag70.xml"/><Relationship Id="rId16" Type="http://schemas.openxmlformats.org/officeDocument/2006/relationships/tags" Target="../tags/tag84.xml"/><Relationship Id="rId20" Type="http://schemas.openxmlformats.org/officeDocument/2006/relationships/tags" Target="../tags/tag88.xml"/><Relationship Id="rId29" Type="http://schemas.openxmlformats.org/officeDocument/2006/relationships/tags" Target="../tags/tag97.xml"/><Relationship Id="rId1" Type="http://schemas.openxmlformats.org/officeDocument/2006/relationships/tags" Target="../tags/tag69.xml"/><Relationship Id="rId6" Type="http://schemas.openxmlformats.org/officeDocument/2006/relationships/tags" Target="../tags/tag74.xml"/><Relationship Id="rId11" Type="http://schemas.openxmlformats.org/officeDocument/2006/relationships/tags" Target="../tags/tag79.xml"/><Relationship Id="rId24" Type="http://schemas.openxmlformats.org/officeDocument/2006/relationships/tags" Target="../tags/tag92.xml"/><Relationship Id="rId32" Type="http://schemas.openxmlformats.org/officeDocument/2006/relationships/tags" Target="../tags/tag100.xml"/><Relationship Id="rId5" Type="http://schemas.openxmlformats.org/officeDocument/2006/relationships/tags" Target="../tags/tag73.xml"/><Relationship Id="rId15" Type="http://schemas.openxmlformats.org/officeDocument/2006/relationships/tags" Target="../tags/tag83.xml"/><Relationship Id="rId23" Type="http://schemas.openxmlformats.org/officeDocument/2006/relationships/tags" Target="../tags/tag91.xml"/><Relationship Id="rId28" Type="http://schemas.openxmlformats.org/officeDocument/2006/relationships/tags" Target="../tags/tag96.xml"/><Relationship Id="rId10" Type="http://schemas.openxmlformats.org/officeDocument/2006/relationships/tags" Target="../tags/tag78.xml"/><Relationship Id="rId19" Type="http://schemas.openxmlformats.org/officeDocument/2006/relationships/tags" Target="../tags/tag87.xml"/><Relationship Id="rId31" Type="http://schemas.openxmlformats.org/officeDocument/2006/relationships/tags" Target="../tags/tag99.xml"/><Relationship Id="rId4" Type="http://schemas.openxmlformats.org/officeDocument/2006/relationships/tags" Target="../tags/tag72.xml"/><Relationship Id="rId9" Type="http://schemas.openxmlformats.org/officeDocument/2006/relationships/tags" Target="../tags/tag77.xml"/><Relationship Id="rId14" Type="http://schemas.openxmlformats.org/officeDocument/2006/relationships/tags" Target="../tags/tag82.xml"/><Relationship Id="rId22" Type="http://schemas.openxmlformats.org/officeDocument/2006/relationships/tags" Target="../tags/tag90.xml"/><Relationship Id="rId27" Type="http://schemas.openxmlformats.org/officeDocument/2006/relationships/tags" Target="../tags/tag95.xml"/><Relationship Id="rId30" Type="http://schemas.openxmlformats.org/officeDocument/2006/relationships/tags" Target="../tags/tag98.xml"/><Relationship Id="rId8" Type="http://schemas.openxmlformats.org/officeDocument/2006/relationships/tags" Target="../tags/tag76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26" Type="http://schemas.openxmlformats.org/officeDocument/2006/relationships/tags" Target="../tags/tag26.xml"/><Relationship Id="rId21" Type="http://schemas.openxmlformats.org/officeDocument/2006/relationships/tags" Target="../tags/tag21.xml"/><Relationship Id="rId42" Type="http://schemas.openxmlformats.org/officeDocument/2006/relationships/tags" Target="../tags/tag42.xml"/><Relationship Id="rId47" Type="http://schemas.openxmlformats.org/officeDocument/2006/relationships/tags" Target="../tags/tag47.xml"/><Relationship Id="rId63" Type="http://schemas.openxmlformats.org/officeDocument/2006/relationships/tags" Target="../tags/tag63.xml"/><Relationship Id="rId68" Type="http://schemas.openxmlformats.org/officeDocument/2006/relationships/tags" Target="../tags/tag68.xml"/><Relationship Id="rId7" Type="http://schemas.openxmlformats.org/officeDocument/2006/relationships/tags" Target="../tags/tag7.xml"/><Relationship Id="rId2" Type="http://schemas.openxmlformats.org/officeDocument/2006/relationships/tags" Target="../tags/tag2.xml"/><Relationship Id="rId16" Type="http://schemas.openxmlformats.org/officeDocument/2006/relationships/tags" Target="../tags/tag16.xml"/><Relationship Id="rId29" Type="http://schemas.openxmlformats.org/officeDocument/2006/relationships/tags" Target="../tags/tag29.xml"/><Relationship Id="rId11" Type="http://schemas.openxmlformats.org/officeDocument/2006/relationships/tags" Target="../tags/tag11.xml"/><Relationship Id="rId24" Type="http://schemas.openxmlformats.org/officeDocument/2006/relationships/tags" Target="../tags/tag24.xml"/><Relationship Id="rId32" Type="http://schemas.openxmlformats.org/officeDocument/2006/relationships/tags" Target="../tags/tag32.xml"/><Relationship Id="rId37" Type="http://schemas.openxmlformats.org/officeDocument/2006/relationships/tags" Target="../tags/tag37.xml"/><Relationship Id="rId40" Type="http://schemas.openxmlformats.org/officeDocument/2006/relationships/tags" Target="../tags/tag40.xml"/><Relationship Id="rId45" Type="http://schemas.openxmlformats.org/officeDocument/2006/relationships/tags" Target="../tags/tag45.xml"/><Relationship Id="rId53" Type="http://schemas.openxmlformats.org/officeDocument/2006/relationships/tags" Target="../tags/tag53.xml"/><Relationship Id="rId58" Type="http://schemas.openxmlformats.org/officeDocument/2006/relationships/tags" Target="../tags/tag58.xml"/><Relationship Id="rId66" Type="http://schemas.openxmlformats.org/officeDocument/2006/relationships/tags" Target="../tags/tag66.xml"/><Relationship Id="rId5" Type="http://schemas.openxmlformats.org/officeDocument/2006/relationships/tags" Target="../tags/tag5.xml"/><Relationship Id="rId61" Type="http://schemas.openxmlformats.org/officeDocument/2006/relationships/tags" Target="../tags/tag61.xml"/><Relationship Id="rId19" Type="http://schemas.openxmlformats.org/officeDocument/2006/relationships/tags" Target="../tags/tag19.xml"/><Relationship Id="rId14" Type="http://schemas.openxmlformats.org/officeDocument/2006/relationships/tags" Target="../tags/tag14.xml"/><Relationship Id="rId22" Type="http://schemas.openxmlformats.org/officeDocument/2006/relationships/tags" Target="../tags/tag22.xml"/><Relationship Id="rId27" Type="http://schemas.openxmlformats.org/officeDocument/2006/relationships/tags" Target="../tags/tag27.xml"/><Relationship Id="rId30" Type="http://schemas.openxmlformats.org/officeDocument/2006/relationships/tags" Target="../tags/tag30.xml"/><Relationship Id="rId35" Type="http://schemas.openxmlformats.org/officeDocument/2006/relationships/tags" Target="../tags/tag35.xml"/><Relationship Id="rId43" Type="http://schemas.openxmlformats.org/officeDocument/2006/relationships/tags" Target="../tags/tag43.xml"/><Relationship Id="rId48" Type="http://schemas.openxmlformats.org/officeDocument/2006/relationships/tags" Target="../tags/tag48.xml"/><Relationship Id="rId56" Type="http://schemas.openxmlformats.org/officeDocument/2006/relationships/tags" Target="../tags/tag56.xml"/><Relationship Id="rId64" Type="http://schemas.openxmlformats.org/officeDocument/2006/relationships/tags" Target="../tags/tag64.xml"/><Relationship Id="rId69" Type="http://schemas.openxmlformats.org/officeDocument/2006/relationships/slideLayout" Target="../slideLayouts/slideLayout12.xml"/><Relationship Id="rId8" Type="http://schemas.openxmlformats.org/officeDocument/2006/relationships/tags" Target="../tags/tag8.xml"/><Relationship Id="rId51" Type="http://schemas.openxmlformats.org/officeDocument/2006/relationships/tags" Target="../tags/tag51.xml"/><Relationship Id="rId3" Type="http://schemas.openxmlformats.org/officeDocument/2006/relationships/tags" Target="../tags/tag3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5" Type="http://schemas.openxmlformats.org/officeDocument/2006/relationships/tags" Target="../tags/tag25.xml"/><Relationship Id="rId33" Type="http://schemas.openxmlformats.org/officeDocument/2006/relationships/tags" Target="../tags/tag33.xml"/><Relationship Id="rId38" Type="http://schemas.openxmlformats.org/officeDocument/2006/relationships/tags" Target="../tags/tag38.xml"/><Relationship Id="rId46" Type="http://schemas.openxmlformats.org/officeDocument/2006/relationships/tags" Target="../tags/tag46.xml"/><Relationship Id="rId59" Type="http://schemas.openxmlformats.org/officeDocument/2006/relationships/tags" Target="../tags/tag59.xml"/><Relationship Id="rId67" Type="http://schemas.openxmlformats.org/officeDocument/2006/relationships/tags" Target="../tags/tag67.xml"/><Relationship Id="rId20" Type="http://schemas.openxmlformats.org/officeDocument/2006/relationships/tags" Target="../tags/tag20.xml"/><Relationship Id="rId41" Type="http://schemas.openxmlformats.org/officeDocument/2006/relationships/tags" Target="../tags/tag41.xml"/><Relationship Id="rId54" Type="http://schemas.openxmlformats.org/officeDocument/2006/relationships/tags" Target="../tags/tag54.xml"/><Relationship Id="rId62" Type="http://schemas.openxmlformats.org/officeDocument/2006/relationships/tags" Target="../tags/tag62.xml"/><Relationship Id="rId70" Type="http://schemas.openxmlformats.org/officeDocument/2006/relationships/notesSlide" Target="../notesSlides/notesSlide7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5" Type="http://schemas.openxmlformats.org/officeDocument/2006/relationships/tags" Target="../tags/tag15.xml"/><Relationship Id="rId23" Type="http://schemas.openxmlformats.org/officeDocument/2006/relationships/tags" Target="../tags/tag23.xml"/><Relationship Id="rId28" Type="http://schemas.openxmlformats.org/officeDocument/2006/relationships/tags" Target="../tags/tag28.xml"/><Relationship Id="rId36" Type="http://schemas.openxmlformats.org/officeDocument/2006/relationships/tags" Target="../tags/tag36.xml"/><Relationship Id="rId49" Type="http://schemas.openxmlformats.org/officeDocument/2006/relationships/tags" Target="../tags/tag49.xml"/><Relationship Id="rId57" Type="http://schemas.openxmlformats.org/officeDocument/2006/relationships/tags" Target="../tags/tag57.xml"/><Relationship Id="rId10" Type="http://schemas.openxmlformats.org/officeDocument/2006/relationships/tags" Target="../tags/tag10.xml"/><Relationship Id="rId31" Type="http://schemas.openxmlformats.org/officeDocument/2006/relationships/tags" Target="../tags/tag31.xml"/><Relationship Id="rId44" Type="http://schemas.openxmlformats.org/officeDocument/2006/relationships/tags" Target="../tags/tag44.xml"/><Relationship Id="rId52" Type="http://schemas.openxmlformats.org/officeDocument/2006/relationships/tags" Target="../tags/tag52.xml"/><Relationship Id="rId60" Type="http://schemas.openxmlformats.org/officeDocument/2006/relationships/tags" Target="../tags/tag60.xml"/><Relationship Id="rId65" Type="http://schemas.openxmlformats.org/officeDocument/2006/relationships/tags" Target="../tags/tag65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39" Type="http://schemas.openxmlformats.org/officeDocument/2006/relationships/tags" Target="../tags/tag39.xml"/><Relationship Id="rId34" Type="http://schemas.openxmlformats.org/officeDocument/2006/relationships/tags" Target="../tags/tag34.xml"/><Relationship Id="rId50" Type="http://schemas.openxmlformats.org/officeDocument/2006/relationships/tags" Target="../tags/tag50.xml"/><Relationship Id="rId55" Type="http://schemas.openxmlformats.org/officeDocument/2006/relationships/tags" Target="../tags/tag5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2470" name="Text Box 6"/>
          <p:cNvSpPr txBox="1">
            <a:spLocks noChangeArrowheads="1"/>
          </p:cNvSpPr>
          <p:nvPr/>
        </p:nvSpPr>
        <p:spPr bwMode="auto">
          <a:xfrm>
            <a:off x="573088" y="573088"/>
            <a:ext cx="8074025" cy="2746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accent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algn="l"/>
            <a:r>
              <a:rPr lang="de-DE" sz="1800" dirty="0">
                <a:solidFill>
                  <a:schemeClr val="bg1"/>
                </a:solidFill>
              </a:rPr>
              <a:t>Studiengang Wirtschaftsinformatik</a:t>
            </a:r>
          </a:p>
        </p:txBody>
      </p:sp>
      <p:sp>
        <p:nvSpPr>
          <p:cNvPr id="702482" name="Rectangle 18"/>
          <p:cNvSpPr>
            <a:spLocks noGrp="1" noChangeArrowheads="1"/>
          </p:cNvSpPr>
          <p:nvPr>
            <p:ph type="ctrTitle"/>
          </p:nvPr>
        </p:nvSpPr>
        <p:spPr>
          <a:xfrm>
            <a:off x="573088" y="188913"/>
            <a:ext cx="8074025" cy="369332"/>
          </a:xfrm>
        </p:spPr>
        <p:txBody>
          <a:bodyPr/>
          <a:lstStyle/>
          <a:p>
            <a:r>
              <a:rPr lang="de-DE" dirty="0"/>
              <a:t>Business </a:t>
            </a:r>
            <a:r>
              <a:rPr lang="de-DE" dirty="0" err="1"/>
              <a:t>Intelligence</a:t>
            </a:r>
            <a:r>
              <a:rPr lang="de-DE" dirty="0"/>
              <a:t> 1 (Informationsmanagement)</a:t>
            </a:r>
          </a:p>
        </p:txBody>
      </p:sp>
      <p:sp>
        <p:nvSpPr>
          <p:cNvPr id="2" name="Rechteck 1"/>
          <p:cNvSpPr/>
          <p:nvPr/>
        </p:nvSpPr>
        <p:spPr bwMode="auto">
          <a:xfrm>
            <a:off x="982366" y="1941205"/>
            <a:ext cx="7237998" cy="3286577"/>
          </a:xfrm>
          <a:prstGeom prst="rect">
            <a:avLst/>
          </a:prstGeom>
          <a:solidFill>
            <a:schemeClr val="bg1">
              <a:alpha val="50000"/>
            </a:scheme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3" name="Textfeld 2"/>
          <p:cNvSpPr txBox="1"/>
          <p:nvPr/>
        </p:nvSpPr>
        <p:spPr>
          <a:xfrm>
            <a:off x="1203710" y="2245665"/>
            <a:ext cx="6182077" cy="29238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de-DE" sz="2400" dirty="0">
                <a:solidFill>
                  <a:schemeClr val="tx1"/>
                </a:solidFill>
              </a:rPr>
              <a:t>Klassifizierung am Beispiel Elektrofahrzeug </a:t>
            </a:r>
          </a:p>
          <a:p>
            <a:pPr algn="l"/>
            <a:r>
              <a:rPr lang="de-DE" sz="2400" dirty="0" err="1">
                <a:solidFill>
                  <a:schemeClr val="tx1"/>
                </a:solidFill>
              </a:rPr>
              <a:t>Karpador</a:t>
            </a:r>
            <a:endParaRPr lang="de-DE" sz="2400" dirty="0">
              <a:solidFill>
                <a:schemeClr val="tx1"/>
              </a:solidFill>
            </a:endParaRPr>
          </a:p>
          <a:p>
            <a:pPr algn="l"/>
            <a:r>
              <a:rPr lang="de-DE" sz="2000" dirty="0">
                <a:solidFill>
                  <a:schemeClr val="tx1"/>
                </a:solidFill>
              </a:rPr>
              <a:t>Zwischenbericht</a:t>
            </a:r>
            <a:endParaRPr lang="de-DE" sz="2400" dirty="0">
              <a:solidFill>
                <a:schemeClr val="tx1"/>
              </a:solidFill>
            </a:endParaRPr>
          </a:p>
          <a:p>
            <a:pPr algn="l"/>
            <a:endParaRPr lang="de-DE" sz="2000" dirty="0">
              <a:solidFill>
                <a:schemeClr val="tx1"/>
              </a:solidFill>
            </a:endParaRPr>
          </a:p>
          <a:p>
            <a:pPr algn="l"/>
            <a:r>
              <a:rPr lang="de-DE" sz="1800" dirty="0">
                <a:solidFill>
                  <a:schemeClr val="tx1"/>
                </a:solidFill>
              </a:rPr>
              <a:t>Timo Frank, Williams </a:t>
            </a:r>
            <a:r>
              <a:rPr lang="de-DE" sz="1800" dirty="0" err="1">
                <a:solidFill>
                  <a:schemeClr val="tx1"/>
                </a:solidFill>
              </a:rPr>
              <a:t>Woutakno</a:t>
            </a:r>
            <a:r>
              <a:rPr lang="de-DE" sz="1800" dirty="0">
                <a:solidFill>
                  <a:schemeClr val="tx1"/>
                </a:solidFill>
              </a:rPr>
              <a:t>, Sascha Plate</a:t>
            </a:r>
          </a:p>
          <a:p>
            <a:pPr algn="l"/>
            <a:endParaRPr lang="de-DE" sz="2000" dirty="0">
              <a:solidFill>
                <a:schemeClr val="tx1"/>
              </a:solidFill>
            </a:endParaRPr>
          </a:p>
          <a:p>
            <a:pPr algn="l"/>
            <a:endParaRPr lang="de-DE" sz="2000" dirty="0">
              <a:solidFill>
                <a:schemeClr val="tx1"/>
              </a:solidFill>
            </a:endParaRPr>
          </a:p>
          <a:p>
            <a:pPr algn="l"/>
            <a:endParaRPr lang="de-DE" sz="2000" dirty="0">
              <a:solidFill>
                <a:schemeClr val="tx1"/>
              </a:solidFill>
            </a:endParaRPr>
          </a:p>
          <a:p>
            <a:pPr algn="l"/>
            <a:r>
              <a:rPr lang="de-DE" sz="1800" dirty="0">
                <a:solidFill>
                  <a:schemeClr val="tx1"/>
                </a:solidFill>
              </a:rPr>
              <a:t>Stand: 03.01.2022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elle 4">
            <a:extLst>
              <a:ext uri="{FF2B5EF4-FFF2-40B4-BE49-F238E27FC236}">
                <a16:creationId xmlns:a16="http://schemas.microsoft.com/office/drawing/2014/main" id="{0EAD61C2-0E9C-41EC-9BA6-E02A66A2872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12894291"/>
              </p:ext>
            </p:extLst>
          </p:nvPr>
        </p:nvGraphicFramePr>
        <p:xfrm>
          <a:off x="500331" y="1586783"/>
          <a:ext cx="8138157" cy="1894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53752">
                  <a:extLst>
                    <a:ext uri="{9D8B030D-6E8A-4147-A177-3AD203B41FA5}">
                      <a16:colId xmlns:a16="http://schemas.microsoft.com/office/drawing/2014/main" val="1244117558"/>
                    </a:ext>
                  </a:extLst>
                </a:gridCol>
                <a:gridCol w="1639019">
                  <a:extLst>
                    <a:ext uri="{9D8B030D-6E8A-4147-A177-3AD203B41FA5}">
                      <a16:colId xmlns:a16="http://schemas.microsoft.com/office/drawing/2014/main" val="1111106065"/>
                    </a:ext>
                  </a:extLst>
                </a:gridCol>
                <a:gridCol w="1725283">
                  <a:extLst>
                    <a:ext uri="{9D8B030D-6E8A-4147-A177-3AD203B41FA5}">
                      <a16:colId xmlns:a16="http://schemas.microsoft.com/office/drawing/2014/main" val="1427106432"/>
                    </a:ext>
                  </a:extLst>
                </a:gridCol>
                <a:gridCol w="924750">
                  <a:extLst>
                    <a:ext uri="{9D8B030D-6E8A-4147-A177-3AD203B41FA5}">
                      <a16:colId xmlns:a16="http://schemas.microsoft.com/office/drawing/2014/main" val="3183141821"/>
                    </a:ext>
                  </a:extLst>
                </a:gridCol>
                <a:gridCol w="795353">
                  <a:extLst>
                    <a:ext uri="{9D8B030D-6E8A-4147-A177-3AD203B41FA5}">
                      <a16:colId xmlns:a16="http://schemas.microsoft.com/office/drawing/2014/main" val="301342498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de-DE" sz="1400" dirty="0">
                          <a:solidFill>
                            <a:schemeClr val="tx1"/>
                          </a:solidFill>
                        </a:rPr>
                        <a:t>Aufgaben / Teilaufgabe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>
                          <a:solidFill>
                            <a:schemeClr val="tx1"/>
                          </a:solidFill>
                        </a:rPr>
                        <a:t>Verantwortlich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>
                          <a:solidFill>
                            <a:schemeClr val="tx1"/>
                          </a:solidFill>
                        </a:rPr>
                        <a:t>Fälligkeit</a:t>
                      </a:r>
                    </a:p>
                  </a:txBody>
                  <a:tcPr anchor="ctr"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de-DE" sz="1400" dirty="0">
                          <a:solidFill>
                            <a:schemeClr val="tx1"/>
                          </a:solidFill>
                        </a:rPr>
                        <a:t>Status</a:t>
                      </a: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67054823"/>
                  </a:ext>
                </a:extLst>
              </a:tr>
              <a:tr h="257071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0" i="0" u="none" strike="noStrike" dirty="0">
                          <a:latin typeface="TKTypeMedium"/>
                        </a:rPr>
                        <a:t>Finale Test der Applikatio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0" i="0" u="none" strike="noStrike" dirty="0">
                          <a:latin typeface="TKTypeMedium"/>
                        </a:rPr>
                        <a:t>Projektteam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0" i="0" u="none" strike="noStrike" dirty="0">
                          <a:latin typeface="TKTypeMedium"/>
                        </a:rPr>
                        <a:t>KW 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100" dirty="0">
                          <a:solidFill>
                            <a:schemeClr val="tx1"/>
                          </a:solidFill>
                        </a:rPr>
                        <a:t>offe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44985513"/>
                  </a:ext>
                </a:extLst>
              </a:tr>
              <a:tr h="181517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0" i="0" u="none" strike="noStrike" dirty="0">
                          <a:latin typeface="TKTypeMedium"/>
                        </a:rPr>
                        <a:t>Abschließen der Projektdokumentatio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0" i="0" u="none" strike="noStrike" dirty="0">
                          <a:latin typeface="TKTypeMedium"/>
                        </a:rPr>
                        <a:t>Projektteam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0" i="0" u="none" strike="noStrike" dirty="0">
                          <a:latin typeface="TKTypeMedium"/>
                        </a:rPr>
                        <a:t>KW 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100" dirty="0">
                          <a:solidFill>
                            <a:schemeClr val="tx1"/>
                          </a:solidFill>
                        </a:rPr>
                        <a:t>offe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39366533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0" i="0" u="none" strike="noStrike" dirty="0">
                          <a:latin typeface="TKTypeMedium"/>
                        </a:rPr>
                        <a:t>Erstellen der Abschlusspräsentatio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0" i="0" u="none" strike="noStrike" dirty="0">
                          <a:latin typeface="TKTypeMedium"/>
                        </a:rPr>
                        <a:t>Projektteam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0" i="0" u="none" strike="noStrike" dirty="0">
                          <a:latin typeface="TKTypeMedium"/>
                        </a:rPr>
                        <a:t>KW 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100" dirty="0">
                          <a:solidFill>
                            <a:schemeClr val="tx1"/>
                          </a:solidFill>
                        </a:rPr>
                        <a:t>offe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863021161"/>
                  </a:ext>
                </a:extLst>
              </a:tr>
              <a:tr h="117394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0" i="0" u="none" strike="noStrike" dirty="0">
                          <a:latin typeface="TKTypeMedium"/>
                        </a:rPr>
                        <a:t>Abschlusspräsentation halte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0" i="0" u="none" strike="noStrike" dirty="0">
                          <a:latin typeface="TKTypeMedium"/>
                        </a:rPr>
                        <a:t>Projektteam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0" i="0" u="none" strike="noStrike" dirty="0">
                          <a:latin typeface="TKTypeMedium"/>
                        </a:rPr>
                        <a:t>KW 4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100" dirty="0">
                          <a:solidFill>
                            <a:schemeClr val="tx1"/>
                          </a:solidFill>
                        </a:rPr>
                        <a:t>offe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123283234"/>
                  </a:ext>
                </a:extLst>
              </a:tr>
              <a:tr h="151929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0" i="0" u="none" strike="noStrike" dirty="0">
                          <a:latin typeface="TKTypeMedium"/>
                        </a:rPr>
                        <a:t>Projektdokumentation pflege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0" i="0" u="none" strike="noStrike" dirty="0">
                          <a:latin typeface="TKTypeMedium"/>
                        </a:rPr>
                        <a:t>Projektteam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0" i="0" u="none" strike="noStrike" dirty="0">
                          <a:latin typeface="TKTypeMedium"/>
                        </a:rPr>
                        <a:t>KW 4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100" dirty="0">
                          <a:solidFill>
                            <a:schemeClr val="tx1"/>
                          </a:solidFill>
                        </a:rPr>
                        <a:t>In Arbei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292415935"/>
                  </a:ext>
                </a:extLst>
              </a:tr>
            </a:tbl>
          </a:graphicData>
        </a:graphic>
      </p:graphicFrame>
      <p:sp>
        <p:nvSpPr>
          <p:cNvPr id="6" name="Text Box 4">
            <a:extLst>
              <a:ext uri="{FF2B5EF4-FFF2-40B4-BE49-F238E27FC236}">
                <a16:creationId xmlns:a16="http://schemas.microsoft.com/office/drawing/2014/main" id="{FE54311D-E828-4C3E-9BD8-08581894B13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73088" y="573088"/>
            <a:ext cx="8074025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accent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algn="l"/>
            <a:r>
              <a:rPr lang="de-DE" sz="1800" dirty="0">
                <a:solidFill>
                  <a:schemeClr val="bg1"/>
                </a:solidFill>
              </a:rPr>
              <a:t>Projektaktivitäten</a:t>
            </a:r>
          </a:p>
        </p:txBody>
      </p:sp>
      <p:sp>
        <p:nvSpPr>
          <p:cNvPr id="7" name="Rectangle 2">
            <a:extLst>
              <a:ext uri="{FF2B5EF4-FFF2-40B4-BE49-F238E27FC236}">
                <a16:creationId xmlns:a16="http://schemas.microsoft.com/office/drawing/2014/main" id="{24A19E4D-1141-48EA-875E-07D9F876A23D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573088" y="181219"/>
            <a:ext cx="8074025" cy="384721"/>
          </a:xfrm>
        </p:spPr>
        <p:txBody>
          <a:bodyPr/>
          <a:lstStyle/>
          <a:p>
            <a:r>
              <a:rPr lang="de-DE" sz="2500" kern="1200" dirty="0"/>
              <a:t>Klassifizierung am Beispiel Elektrofahrzeug</a:t>
            </a:r>
            <a:endParaRPr lang="de-DE" dirty="0"/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89A83F8E-C420-4BCB-8694-E31A7BAEA941}"/>
              </a:ext>
            </a:extLst>
          </p:cNvPr>
          <p:cNvGrpSpPr/>
          <p:nvPr/>
        </p:nvGrpSpPr>
        <p:grpSpPr>
          <a:xfrm>
            <a:off x="4321968" y="5954577"/>
            <a:ext cx="500063" cy="157162"/>
            <a:chOff x="285750" y="5690627"/>
            <a:chExt cx="500063" cy="157162"/>
          </a:xfrm>
        </p:grpSpPr>
        <p:sp>
          <p:nvSpPr>
            <p:cNvPr id="9" name="desk1">
              <a:extLst>
                <a:ext uri="{FF2B5EF4-FFF2-40B4-BE49-F238E27FC236}">
                  <a16:creationId xmlns:a16="http://schemas.microsoft.com/office/drawing/2014/main" id="{1C406C26-F28B-4C46-AFE7-B02A01533FD1}"/>
                </a:ext>
              </a:extLst>
            </p:cNvPr>
            <p:cNvSpPr>
              <a:spLocks noChangeAspect="1" noEditPoints="1" noChangeArrowheads="1"/>
            </p:cNvSpPr>
            <p:nvPr>
              <p:custDataLst>
                <p:tags r:id="rId29"/>
              </p:custDataLst>
            </p:nvPr>
          </p:nvSpPr>
          <p:spPr bwMode="auto">
            <a:xfrm>
              <a:off x="285750" y="5690627"/>
              <a:ext cx="500063" cy="157162"/>
            </a:xfrm>
            <a:custGeom>
              <a:avLst/>
              <a:gdLst>
                <a:gd name="T0" fmla="*/ 0 w 21600"/>
                <a:gd name="T1" fmla="*/ 0 h 21600"/>
                <a:gd name="T2" fmla="*/ 2147483647 w 21600"/>
                <a:gd name="T3" fmla="*/ 0 h 21600"/>
                <a:gd name="T4" fmla="*/ 2147483647 w 21600"/>
                <a:gd name="T5" fmla="*/ 2147483647 h 21600"/>
                <a:gd name="T6" fmla="*/ 0 w 21600"/>
                <a:gd name="T7" fmla="*/ 2147483647 h 21600"/>
                <a:gd name="T8" fmla="*/ 2147483647 w 21600"/>
                <a:gd name="T9" fmla="*/ 0 h 21600"/>
                <a:gd name="T10" fmla="*/ 2147483647 w 21600"/>
                <a:gd name="T11" fmla="*/ 2147483647 h 21600"/>
                <a:gd name="T12" fmla="*/ 2147483647 w 21600"/>
                <a:gd name="T13" fmla="*/ 2147483647 h 21600"/>
                <a:gd name="T14" fmla="*/ 0 w 21600"/>
                <a:gd name="T15" fmla="*/ 2147483647 h 2160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1000 w 21600"/>
                <a:gd name="T25" fmla="*/ 1000 h 21600"/>
                <a:gd name="T26" fmla="*/ 20600 w 21600"/>
                <a:gd name="T27" fmla="*/ 20600 h 21600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1600" h="21600">
                  <a:moveTo>
                    <a:pt x="0" y="0"/>
                  </a:moveTo>
                  <a:lnTo>
                    <a:pt x="21600" y="0"/>
                  </a:lnTo>
                  <a:lnTo>
                    <a:pt x="21600" y="21600"/>
                  </a:lnTo>
                  <a:lnTo>
                    <a:pt x="0" y="21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0E1DF"/>
            </a:solidFill>
            <a:ln w="3175">
              <a:solidFill>
                <a:srgbClr val="A2A3A5"/>
              </a:solidFill>
              <a:miter lim="800000"/>
              <a:headEnd/>
              <a:tailEnd/>
            </a:ln>
          </p:spPr>
          <p:txBody>
            <a:bodyPr lIns="91413" tIns="45709" rIns="91413" bIns="45709"/>
            <a:lstStyle/>
            <a:p>
              <a:endParaRPr lang="de-DE"/>
            </a:p>
          </p:txBody>
        </p:sp>
        <p:sp>
          <p:nvSpPr>
            <p:cNvPr id="10" name="Oval 19">
              <a:extLst>
                <a:ext uri="{FF2B5EF4-FFF2-40B4-BE49-F238E27FC236}">
                  <a16:creationId xmlns:a16="http://schemas.microsoft.com/office/drawing/2014/main" id="{01ED5B59-D6E6-4E3E-869F-7F0E3AD9853B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30"/>
              </p:custDataLst>
            </p:nvPr>
          </p:nvSpPr>
          <p:spPr bwMode="auto">
            <a:xfrm rot="5400000">
              <a:off x="325438" y="5716026"/>
              <a:ext cx="109538" cy="106363"/>
            </a:xfrm>
            <a:prstGeom prst="ellipse">
              <a:avLst/>
            </a:prstGeom>
            <a:gradFill rotWithShape="1">
              <a:gsLst>
                <a:gs pos="0">
                  <a:srgbClr val="E6E6E6"/>
                </a:gs>
                <a:gs pos="100000">
                  <a:srgbClr val="979797"/>
                </a:gs>
              </a:gsLst>
              <a:lin ang="2700000" scaled="1"/>
            </a:gradFill>
            <a:ln w="6350" algn="ctr">
              <a:solidFill>
                <a:srgbClr val="808080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rot="10800000" vert="eaVert"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11" name="Oval 49">
              <a:extLst>
                <a:ext uri="{FF2B5EF4-FFF2-40B4-BE49-F238E27FC236}">
                  <a16:creationId xmlns:a16="http://schemas.microsoft.com/office/drawing/2014/main" id="{2655CDFD-4872-4A3A-8784-9CE446EFC8C2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31"/>
              </p:custDataLst>
            </p:nvPr>
          </p:nvSpPr>
          <p:spPr bwMode="auto">
            <a:xfrm rot="5400000">
              <a:off x="605631" y="5715233"/>
              <a:ext cx="109538" cy="107950"/>
            </a:xfrm>
            <a:prstGeom prst="ellipse">
              <a:avLst/>
            </a:prstGeom>
            <a:gradFill rotWithShape="1">
              <a:gsLst>
                <a:gs pos="0">
                  <a:srgbClr val="00FE00"/>
                </a:gs>
                <a:gs pos="100000">
                  <a:srgbClr val="00A600"/>
                </a:gs>
              </a:gsLst>
              <a:lin ang="2700000" scaled="1"/>
            </a:gradFill>
            <a:ln w="6350" algn="ctr">
              <a:solidFill>
                <a:srgbClr val="333333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12" name="Oval 49">
              <a:extLst>
                <a:ext uri="{FF2B5EF4-FFF2-40B4-BE49-F238E27FC236}">
                  <a16:creationId xmlns:a16="http://schemas.microsoft.com/office/drawing/2014/main" id="{433FE952-D89D-4238-9038-56FF7100C245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32"/>
              </p:custDataLst>
            </p:nvPr>
          </p:nvSpPr>
          <p:spPr bwMode="auto">
            <a:xfrm rot="5400000">
              <a:off x="466725" y="5716027"/>
              <a:ext cx="109538" cy="106362"/>
            </a:xfrm>
            <a:prstGeom prst="ellipse">
              <a:avLst/>
            </a:prstGeom>
            <a:gradFill rotWithShape="1">
              <a:gsLst>
                <a:gs pos="0">
                  <a:srgbClr val="E6E6E6"/>
                </a:gs>
                <a:gs pos="100000">
                  <a:srgbClr val="979797"/>
                </a:gs>
              </a:gsLst>
              <a:lin ang="2700000" scaled="1"/>
            </a:gradFill>
            <a:ln w="6350" algn="ctr">
              <a:solidFill>
                <a:srgbClr val="808080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rot="10800000" vert="eaVert"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</p:grpSp>
      <p:grpSp>
        <p:nvGrpSpPr>
          <p:cNvPr id="13" name="Gruppieren 48">
            <a:extLst>
              <a:ext uri="{FF2B5EF4-FFF2-40B4-BE49-F238E27FC236}">
                <a16:creationId xmlns:a16="http://schemas.microsoft.com/office/drawing/2014/main" id="{31FB96A4-BCAF-4E79-BB00-82FCC40EE1D9}"/>
              </a:ext>
            </a:extLst>
          </p:cNvPr>
          <p:cNvGrpSpPr>
            <a:grpSpLocks/>
          </p:cNvGrpSpPr>
          <p:nvPr/>
        </p:nvGrpSpPr>
        <p:grpSpPr bwMode="auto">
          <a:xfrm>
            <a:off x="4323158" y="6231532"/>
            <a:ext cx="500063" cy="157162"/>
            <a:chOff x="2786050" y="5694380"/>
            <a:chExt cx="500066" cy="157145"/>
          </a:xfrm>
        </p:grpSpPr>
        <p:sp>
          <p:nvSpPr>
            <p:cNvPr id="14" name="desk1">
              <a:extLst>
                <a:ext uri="{FF2B5EF4-FFF2-40B4-BE49-F238E27FC236}">
                  <a16:creationId xmlns:a16="http://schemas.microsoft.com/office/drawing/2014/main" id="{5DF0AEC9-63CA-40FF-AAA7-E0730C0757E3}"/>
                </a:ext>
              </a:extLst>
            </p:cNvPr>
            <p:cNvSpPr>
              <a:spLocks noChangeAspect="1" noEditPoints="1" noChangeArrowheads="1"/>
            </p:cNvSpPr>
            <p:nvPr>
              <p:custDataLst>
                <p:tags r:id="rId25"/>
              </p:custDataLst>
            </p:nvPr>
          </p:nvSpPr>
          <p:spPr bwMode="auto">
            <a:xfrm>
              <a:off x="2786050" y="5694380"/>
              <a:ext cx="500066" cy="157145"/>
            </a:xfrm>
            <a:custGeom>
              <a:avLst/>
              <a:gdLst>
                <a:gd name="T0" fmla="*/ 0 w 21600"/>
                <a:gd name="T1" fmla="*/ 0 h 21600"/>
                <a:gd name="T2" fmla="*/ 2147483647 w 21600"/>
                <a:gd name="T3" fmla="*/ 0 h 21600"/>
                <a:gd name="T4" fmla="*/ 2147483647 w 21600"/>
                <a:gd name="T5" fmla="*/ 2147483647 h 21600"/>
                <a:gd name="T6" fmla="*/ 0 w 21600"/>
                <a:gd name="T7" fmla="*/ 2147483647 h 21600"/>
                <a:gd name="T8" fmla="*/ 2147483647 w 21600"/>
                <a:gd name="T9" fmla="*/ 0 h 21600"/>
                <a:gd name="T10" fmla="*/ 2147483647 w 21600"/>
                <a:gd name="T11" fmla="*/ 2147483647 h 21600"/>
                <a:gd name="T12" fmla="*/ 2147483647 w 21600"/>
                <a:gd name="T13" fmla="*/ 2147483647 h 21600"/>
                <a:gd name="T14" fmla="*/ 0 w 21600"/>
                <a:gd name="T15" fmla="*/ 2147483647 h 2160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1000 w 21600"/>
                <a:gd name="T25" fmla="*/ 1000 h 21600"/>
                <a:gd name="T26" fmla="*/ 20600 w 21600"/>
                <a:gd name="T27" fmla="*/ 20600 h 21600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1600" h="21600">
                  <a:moveTo>
                    <a:pt x="0" y="0"/>
                  </a:moveTo>
                  <a:lnTo>
                    <a:pt x="21600" y="0"/>
                  </a:lnTo>
                  <a:lnTo>
                    <a:pt x="21600" y="21600"/>
                  </a:lnTo>
                  <a:lnTo>
                    <a:pt x="0" y="21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0E1DF"/>
            </a:solidFill>
            <a:ln w="3175">
              <a:solidFill>
                <a:srgbClr val="A2A3A5"/>
              </a:solidFill>
              <a:miter lim="800000"/>
              <a:headEnd/>
              <a:tailEnd/>
            </a:ln>
          </p:spPr>
          <p:txBody>
            <a:bodyPr lIns="91413" tIns="45709" rIns="91413" bIns="45709"/>
            <a:lstStyle/>
            <a:p>
              <a:endParaRPr lang="de-DE"/>
            </a:p>
          </p:txBody>
        </p:sp>
        <p:sp>
          <p:nvSpPr>
            <p:cNvPr id="15" name="Oval 18">
              <a:extLst>
                <a:ext uri="{FF2B5EF4-FFF2-40B4-BE49-F238E27FC236}">
                  <a16:creationId xmlns:a16="http://schemas.microsoft.com/office/drawing/2014/main" id="{C588BA55-D68B-4557-9D72-A766BCB53EE6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26"/>
              </p:custDataLst>
            </p:nvPr>
          </p:nvSpPr>
          <p:spPr bwMode="auto">
            <a:xfrm rot="5400000">
              <a:off x="2967032" y="5719771"/>
              <a:ext cx="107938" cy="107951"/>
            </a:xfrm>
            <a:prstGeom prst="ellipse">
              <a:avLst/>
            </a:prstGeom>
            <a:gradFill rotWithShape="1">
              <a:gsLst>
                <a:gs pos="0">
                  <a:srgbClr val="FEFE00"/>
                </a:gs>
                <a:gs pos="100000">
                  <a:srgbClr val="A6A600"/>
                </a:gs>
              </a:gsLst>
              <a:lin ang="2700000" scaled="1"/>
            </a:gradFill>
            <a:ln w="6350" algn="ctr">
              <a:solidFill>
                <a:srgbClr val="333333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16" name="Oval 49">
              <a:extLst>
                <a:ext uri="{FF2B5EF4-FFF2-40B4-BE49-F238E27FC236}">
                  <a16:creationId xmlns:a16="http://schemas.microsoft.com/office/drawing/2014/main" id="{62E0BC09-36FE-4909-932F-DC8C8BDBB875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27"/>
              </p:custDataLst>
            </p:nvPr>
          </p:nvSpPr>
          <p:spPr bwMode="auto">
            <a:xfrm rot="5400000">
              <a:off x="2826537" y="5718977"/>
              <a:ext cx="109526" cy="107951"/>
            </a:xfrm>
            <a:prstGeom prst="ellipse">
              <a:avLst/>
            </a:prstGeom>
            <a:gradFill rotWithShape="1">
              <a:gsLst>
                <a:gs pos="0">
                  <a:srgbClr val="E6E6E6"/>
                </a:gs>
                <a:gs pos="100000">
                  <a:srgbClr val="979797"/>
                </a:gs>
              </a:gsLst>
              <a:lin ang="2700000" scaled="1"/>
            </a:gradFill>
            <a:ln w="6350" algn="ctr">
              <a:solidFill>
                <a:srgbClr val="808080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rot="10800000" vert="eaVert"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17" name="Oval 49">
              <a:extLst>
                <a:ext uri="{FF2B5EF4-FFF2-40B4-BE49-F238E27FC236}">
                  <a16:creationId xmlns:a16="http://schemas.microsoft.com/office/drawing/2014/main" id="{5B64443A-CB11-42FE-849B-237595B38783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28"/>
              </p:custDataLst>
            </p:nvPr>
          </p:nvSpPr>
          <p:spPr bwMode="auto">
            <a:xfrm rot="5400000">
              <a:off x="3106733" y="5719771"/>
              <a:ext cx="109526" cy="106363"/>
            </a:xfrm>
            <a:prstGeom prst="ellipse">
              <a:avLst/>
            </a:prstGeom>
            <a:gradFill rotWithShape="1">
              <a:gsLst>
                <a:gs pos="0">
                  <a:srgbClr val="E6E6E6"/>
                </a:gs>
                <a:gs pos="100000">
                  <a:srgbClr val="979797"/>
                </a:gs>
              </a:gsLst>
              <a:lin ang="2700000" scaled="1"/>
            </a:gradFill>
            <a:ln w="6350" algn="ctr">
              <a:solidFill>
                <a:srgbClr val="808080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rot="10800000" vert="eaVert"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</p:grpSp>
      <p:grpSp>
        <p:nvGrpSpPr>
          <p:cNvPr id="18" name="Gruppieren 17">
            <a:extLst>
              <a:ext uri="{FF2B5EF4-FFF2-40B4-BE49-F238E27FC236}">
                <a16:creationId xmlns:a16="http://schemas.microsoft.com/office/drawing/2014/main" id="{A5D8A6E7-EB08-4EC2-9908-402509129149}"/>
              </a:ext>
            </a:extLst>
          </p:cNvPr>
          <p:cNvGrpSpPr/>
          <p:nvPr/>
        </p:nvGrpSpPr>
        <p:grpSpPr>
          <a:xfrm>
            <a:off x="4321968" y="6517284"/>
            <a:ext cx="500063" cy="157162"/>
            <a:chOff x="5857875" y="5690627"/>
            <a:chExt cx="500063" cy="157162"/>
          </a:xfrm>
        </p:grpSpPr>
        <p:sp>
          <p:nvSpPr>
            <p:cNvPr id="19" name="desk1">
              <a:extLst>
                <a:ext uri="{FF2B5EF4-FFF2-40B4-BE49-F238E27FC236}">
                  <a16:creationId xmlns:a16="http://schemas.microsoft.com/office/drawing/2014/main" id="{396FE7A3-F999-4788-B4D0-BAAF31CA8DC7}"/>
                </a:ext>
              </a:extLst>
            </p:cNvPr>
            <p:cNvSpPr>
              <a:spLocks noChangeAspect="1" noEditPoints="1" noChangeArrowheads="1"/>
            </p:cNvSpPr>
            <p:nvPr>
              <p:custDataLst>
                <p:tags r:id="rId21"/>
              </p:custDataLst>
            </p:nvPr>
          </p:nvSpPr>
          <p:spPr bwMode="auto">
            <a:xfrm>
              <a:off x="5857875" y="5690627"/>
              <a:ext cx="500063" cy="157162"/>
            </a:xfrm>
            <a:custGeom>
              <a:avLst/>
              <a:gdLst>
                <a:gd name="T0" fmla="*/ 0 w 21600"/>
                <a:gd name="T1" fmla="*/ 0 h 21600"/>
                <a:gd name="T2" fmla="*/ 2147483647 w 21600"/>
                <a:gd name="T3" fmla="*/ 0 h 21600"/>
                <a:gd name="T4" fmla="*/ 2147483647 w 21600"/>
                <a:gd name="T5" fmla="*/ 2147483647 h 21600"/>
                <a:gd name="T6" fmla="*/ 0 w 21600"/>
                <a:gd name="T7" fmla="*/ 2147483647 h 21600"/>
                <a:gd name="T8" fmla="*/ 2147483647 w 21600"/>
                <a:gd name="T9" fmla="*/ 0 h 21600"/>
                <a:gd name="T10" fmla="*/ 2147483647 w 21600"/>
                <a:gd name="T11" fmla="*/ 2147483647 h 21600"/>
                <a:gd name="T12" fmla="*/ 2147483647 w 21600"/>
                <a:gd name="T13" fmla="*/ 2147483647 h 21600"/>
                <a:gd name="T14" fmla="*/ 0 w 21600"/>
                <a:gd name="T15" fmla="*/ 2147483647 h 2160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1000 w 21600"/>
                <a:gd name="T25" fmla="*/ 1000 h 21600"/>
                <a:gd name="T26" fmla="*/ 20600 w 21600"/>
                <a:gd name="T27" fmla="*/ 20600 h 21600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1600" h="21600">
                  <a:moveTo>
                    <a:pt x="0" y="0"/>
                  </a:moveTo>
                  <a:lnTo>
                    <a:pt x="21600" y="0"/>
                  </a:lnTo>
                  <a:lnTo>
                    <a:pt x="21600" y="21600"/>
                  </a:lnTo>
                  <a:lnTo>
                    <a:pt x="0" y="21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0E1DF"/>
            </a:solidFill>
            <a:ln w="3175">
              <a:solidFill>
                <a:srgbClr val="A2A3A5"/>
              </a:solidFill>
              <a:miter lim="800000"/>
              <a:headEnd/>
              <a:tailEnd/>
            </a:ln>
          </p:spPr>
          <p:txBody>
            <a:bodyPr lIns="91413" tIns="45709" rIns="91413" bIns="45709"/>
            <a:lstStyle/>
            <a:p>
              <a:endParaRPr lang="de-DE"/>
            </a:p>
          </p:txBody>
        </p:sp>
        <p:sp>
          <p:nvSpPr>
            <p:cNvPr id="20" name="Oval 49">
              <a:extLst>
                <a:ext uri="{FF2B5EF4-FFF2-40B4-BE49-F238E27FC236}">
                  <a16:creationId xmlns:a16="http://schemas.microsoft.com/office/drawing/2014/main" id="{2562CD92-72C6-40E4-B108-CA363449390B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22"/>
              </p:custDataLst>
            </p:nvPr>
          </p:nvSpPr>
          <p:spPr bwMode="auto">
            <a:xfrm rot="5400000">
              <a:off x="5897563" y="5717614"/>
              <a:ext cx="109537" cy="106363"/>
            </a:xfrm>
            <a:prstGeom prst="ellipse">
              <a:avLst/>
            </a:prstGeom>
            <a:gradFill rotWithShape="1">
              <a:gsLst>
                <a:gs pos="0">
                  <a:srgbClr val="FE0000"/>
                </a:gs>
                <a:gs pos="100000">
                  <a:srgbClr val="A60000"/>
                </a:gs>
              </a:gsLst>
              <a:lin ang="2700000" scaled="1"/>
            </a:gradFill>
            <a:ln w="6350" algn="ctr">
              <a:solidFill>
                <a:srgbClr val="333333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21" name="Oval 49">
              <a:extLst>
                <a:ext uri="{FF2B5EF4-FFF2-40B4-BE49-F238E27FC236}">
                  <a16:creationId xmlns:a16="http://schemas.microsoft.com/office/drawing/2014/main" id="{CE15300C-AD44-4EC9-A064-E2994D202724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23"/>
              </p:custDataLst>
            </p:nvPr>
          </p:nvSpPr>
          <p:spPr bwMode="auto">
            <a:xfrm rot="5400000">
              <a:off x="6039644" y="5716821"/>
              <a:ext cx="107950" cy="106362"/>
            </a:xfrm>
            <a:prstGeom prst="ellipse">
              <a:avLst/>
            </a:prstGeom>
            <a:gradFill rotWithShape="1">
              <a:gsLst>
                <a:gs pos="0">
                  <a:srgbClr val="E6E6E6"/>
                </a:gs>
                <a:gs pos="100000">
                  <a:srgbClr val="979797"/>
                </a:gs>
              </a:gsLst>
              <a:lin ang="2700000" scaled="1"/>
            </a:gradFill>
            <a:ln w="6350" algn="ctr">
              <a:solidFill>
                <a:srgbClr val="808080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rot="10800000" vert="eaVert"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22" name="Oval 20">
              <a:extLst>
                <a:ext uri="{FF2B5EF4-FFF2-40B4-BE49-F238E27FC236}">
                  <a16:creationId xmlns:a16="http://schemas.microsoft.com/office/drawing/2014/main" id="{019602FD-4B59-44B3-96B0-9D281F7203FB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24"/>
              </p:custDataLst>
            </p:nvPr>
          </p:nvSpPr>
          <p:spPr bwMode="auto">
            <a:xfrm rot="5400000">
              <a:off x="6178550" y="5716027"/>
              <a:ext cx="107950" cy="107950"/>
            </a:xfrm>
            <a:prstGeom prst="ellipse">
              <a:avLst/>
            </a:prstGeom>
            <a:gradFill rotWithShape="1">
              <a:gsLst>
                <a:gs pos="0">
                  <a:srgbClr val="E6E6E6"/>
                </a:gs>
                <a:gs pos="100000">
                  <a:srgbClr val="979797"/>
                </a:gs>
              </a:gsLst>
              <a:lin ang="2700000" scaled="1"/>
            </a:gradFill>
            <a:ln w="6350" algn="ctr">
              <a:solidFill>
                <a:srgbClr val="808080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rot="10800000" vert="eaVert"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</p:grpSp>
      <p:grpSp>
        <p:nvGrpSpPr>
          <p:cNvPr id="23" name="Gruppieren 22">
            <a:extLst>
              <a:ext uri="{FF2B5EF4-FFF2-40B4-BE49-F238E27FC236}">
                <a16:creationId xmlns:a16="http://schemas.microsoft.com/office/drawing/2014/main" id="{C87BFDB8-4588-428F-812D-A3D03C4DFA61}"/>
              </a:ext>
            </a:extLst>
          </p:cNvPr>
          <p:cNvGrpSpPr/>
          <p:nvPr/>
        </p:nvGrpSpPr>
        <p:grpSpPr>
          <a:xfrm>
            <a:off x="8006133" y="2030356"/>
            <a:ext cx="500063" cy="157162"/>
            <a:chOff x="5857875" y="5690627"/>
            <a:chExt cx="500063" cy="157162"/>
          </a:xfrm>
        </p:grpSpPr>
        <p:sp>
          <p:nvSpPr>
            <p:cNvPr id="24" name="desk1">
              <a:extLst>
                <a:ext uri="{FF2B5EF4-FFF2-40B4-BE49-F238E27FC236}">
                  <a16:creationId xmlns:a16="http://schemas.microsoft.com/office/drawing/2014/main" id="{8FF77E66-03C7-430A-8465-DF976E29C2ED}"/>
                </a:ext>
              </a:extLst>
            </p:cNvPr>
            <p:cNvSpPr>
              <a:spLocks noChangeAspect="1" noEditPoints="1" noChangeArrowheads="1"/>
            </p:cNvSpPr>
            <p:nvPr>
              <p:custDataLst>
                <p:tags r:id="rId17"/>
              </p:custDataLst>
            </p:nvPr>
          </p:nvSpPr>
          <p:spPr bwMode="auto">
            <a:xfrm>
              <a:off x="5857875" y="5690627"/>
              <a:ext cx="500063" cy="157162"/>
            </a:xfrm>
            <a:custGeom>
              <a:avLst/>
              <a:gdLst>
                <a:gd name="T0" fmla="*/ 0 w 21600"/>
                <a:gd name="T1" fmla="*/ 0 h 21600"/>
                <a:gd name="T2" fmla="*/ 2147483647 w 21600"/>
                <a:gd name="T3" fmla="*/ 0 h 21600"/>
                <a:gd name="T4" fmla="*/ 2147483647 w 21600"/>
                <a:gd name="T5" fmla="*/ 2147483647 h 21600"/>
                <a:gd name="T6" fmla="*/ 0 w 21600"/>
                <a:gd name="T7" fmla="*/ 2147483647 h 21600"/>
                <a:gd name="T8" fmla="*/ 2147483647 w 21600"/>
                <a:gd name="T9" fmla="*/ 0 h 21600"/>
                <a:gd name="T10" fmla="*/ 2147483647 w 21600"/>
                <a:gd name="T11" fmla="*/ 2147483647 h 21600"/>
                <a:gd name="T12" fmla="*/ 2147483647 w 21600"/>
                <a:gd name="T13" fmla="*/ 2147483647 h 21600"/>
                <a:gd name="T14" fmla="*/ 0 w 21600"/>
                <a:gd name="T15" fmla="*/ 2147483647 h 2160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1000 w 21600"/>
                <a:gd name="T25" fmla="*/ 1000 h 21600"/>
                <a:gd name="T26" fmla="*/ 20600 w 21600"/>
                <a:gd name="T27" fmla="*/ 20600 h 21600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1600" h="21600">
                  <a:moveTo>
                    <a:pt x="0" y="0"/>
                  </a:moveTo>
                  <a:lnTo>
                    <a:pt x="21600" y="0"/>
                  </a:lnTo>
                  <a:lnTo>
                    <a:pt x="21600" y="21600"/>
                  </a:lnTo>
                  <a:lnTo>
                    <a:pt x="0" y="21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0E1DF"/>
            </a:solidFill>
            <a:ln w="3175">
              <a:solidFill>
                <a:srgbClr val="A2A3A5"/>
              </a:solidFill>
              <a:miter lim="800000"/>
              <a:headEnd/>
              <a:tailEnd/>
            </a:ln>
          </p:spPr>
          <p:txBody>
            <a:bodyPr lIns="91413" tIns="45709" rIns="91413" bIns="45709"/>
            <a:lstStyle/>
            <a:p>
              <a:endParaRPr lang="de-DE"/>
            </a:p>
          </p:txBody>
        </p:sp>
        <p:sp>
          <p:nvSpPr>
            <p:cNvPr id="25" name="Oval 49">
              <a:extLst>
                <a:ext uri="{FF2B5EF4-FFF2-40B4-BE49-F238E27FC236}">
                  <a16:creationId xmlns:a16="http://schemas.microsoft.com/office/drawing/2014/main" id="{EB80C244-AEB8-40A2-B69C-B4FC0C3C087A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18"/>
              </p:custDataLst>
            </p:nvPr>
          </p:nvSpPr>
          <p:spPr bwMode="auto">
            <a:xfrm rot="5400000">
              <a:off x="5897563" y="5717614"/>
              <a:ext cx="109537" cy="106363"/>
            </a:xfrm>
            <a:prstGeom prst="ellipse">
              <a:avLst/>
            </a:prstGeom>
            <a:gradFill rotWithShape="1">
              <a:gsLst>
                <a:gs pos="0">
                  <a:srgbClr val="FE0000"/>
                </a:gs>
                <a:gs pos="100000">
                  <a:srgbClr val="A60000"/>
                </a:gs>
              </a:gsLst>
              <a:lin ang="2700000" scaled="1"/>
            </a:gradFill>
            <a:ln w="6350" algn="ctr">
              <a:solidFill>
                <a:srgbClr val="333333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26" name="Oval 49">
              <a:extLst>
                <a:ext uri="{FF2B5EF4-FFF2-40B4-BE49-F238E27FC236}">
                  <a16:creationId xmlns:a16="http://schemas.microsoft.com/office/drawing/2014/main" id="{3C1D810B-ED80-485A-9647-4E82E3DF2EA2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19"/>
              </p:custDataLst>
            </p:nvPr>
          </p:nvSpPr>
          <p:spPr bwMode="auto">
            <a:xfrm rot="5400000">
              <a:off x="6039644" y="5716821"/>
              <a:ext cx="107950" cy="106362"/>
            </a:xfrm>
            <a:prstGeom prst="ellipse">
              <a:avLst/>
            </a:prstGeom>
            <a:gradFill rotWithShape="1">
              <a:gsLst>
                <a:gs pos="0">
                  <a:srgbClr val="E6E6E6"/>
                </a:gs>
                <a:gs pos="100000">
                  <a:srgbClr val="979797"/>
                </a:gs>
              </a:gsLst>
              <a:lin ang="2700000" scaled="1"/>
            </a:gradFill>
            <a:ln w="6350" algn="ctr">
              <a:solidFill>
                <a:srgbClr val="808080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rot="10800000" vert="eaVert"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27" name="Oval 20">
              <a:extLst>
                <a:ext uri="{FF2B5EF4-FFF2-40B4-BE49-F238E27FC236}">
                  <a16:creationId xmlns:a16="http://schemas.microsoft.com/office/drawing/2014/main" id="{03A0163F-1986-4D4F-B266-ACAE212F4AE6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20"/>
              </p:custDataLst>
            </p:nvPr>
          </p:nvSpPr>
          <p:spPr bwMode="auto">
            <a:xfrm rot="5400000">
              <a:off x="6178550" y="5716027"/>
              <a:ext cx="107950" cy="107950"/>
            </a:xfrm>
            <a:prstGeom prst="ellipse">
              <a:avLst/>
            </a:prstGeom>
            <a:gradFill rotWithShape="1">
              <a:gsLst>
                <a:gs pos="0">
                  <a:srgbClr val="E6E6E6"/>
                </a:gs>
                <a:gs pos="100000">
                  <a:srgbClr val="979797"/>
                </a:gs>
              </a:gsLst>
              <a:lin ang="2700000" scaled="1"/>
            </a:gradFill>
            <a:ln w="6350" algn="ctr">
              <a:solidFill>
                <a:srgbClr val="808080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rot="10800000" vert="eaVert"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</p:grpSp>
      <p:grpSp>
        <p:nvGrpSpPr>
          <p:cNvPr id="28" name="Gruppieren 27">
            <a:extLst>
              <a:ext uri="{FF2B5EF4-FFF2-40B4-BE49-F238E27FC236}">
                <a16:creationId xmlns:a16="http://schemas.microsoft.com/office/drawing/2014/main" id="{C6BD9AE1-3972-4F54-A2AB-C9698DA199AC}"/>
              </a:ext>
            </a:extLst>
          </p:cNvPr>
          <p:cNvGrpSpPr/>
          <p:nvPr/>
        </p:nvGrpSpPr>
        <p:grpSpPr>
          <a:xfrm>
            <a:off x="8006133" y="2324186"/>
            <a:ext cx="500063" cy="157162"/>
            <a:chOff x="5857875" y="5690627"/>
            <a:chExt cx="500063" cy="157162"/>
          </a:xfrm>
        </p:grpSpPr>
        <p:sp>
          <p:nvSpPr>
            <p:cNvPr id="29" name="desk1">
              <a:extLst>
                <a:ext uri="{FF2B5EF4-FFF2-40B4-BE49-F238E27FC236}">
                  <a16:creationId xmlns:a16="http://schemas.microsoft.com/office/drawing/2014/main" id="{280BE7EE-F7AF-4DD4-8C19-DB6EC5AD0414}"/>
                </a:ext>
              </a:extLst>
            </p:cNvPr>
            <p:cNvSpPr>
              <a:spLocks noChangeAspect="1" noEditPoints="1" noChangeArrowheads="1"/>
            </p:cNvSpPr>
            <p:nvPr>
              <p:custDataLst>
                <p:tags r:id="rId13"/>
              </p:custDataLst>
            </p:nvPr>
          </p:nvSpPr>
          <p:spPr bwMode="auto">
            <a:xfrm>
              <a:off x="5857875" y="5690627"/>
              <a:ext cx="500063" cy="157162"/>
            </a:xfrm>
            <a:custGeom>
              <a:avLst/>
              <a:gdLst>
                <a:gd name="T0" fmla="*/ 0 w 21600"/>
                <a:gd name="T1" fmla="*/ 0 h 21600"/>
                <a:gd name="T2" fmla="*/ 2147483647 w 21600"/>
                <a:gd name="T3" fmla="*/ 0 h 21600"/>
                <a:gd name="T4" fmla="*/ 2147483647 w 21600"/>
                <a:gd name="T5" fmla="*/ 2147483647 h 21600"/>
                <a:gd name="T6" fmla="*/ 0 w 21600"/>
                <a:gd name="T7" fmla="*/ 2147483647 h 21600"/>
                <a:gd name="T8" fmla="*/ 2147483647 w 21600"/>
                <a:gd name="T9" fmla="*/ 0 h 21600"/>
                <a:gd name="T10" fmla="*/ 2147483647 w 21600"/>
                <a:gd name="T11" fmla="*/ 2147483647 h 21600"/>
                <a:gd name="T12" fmla="*/ 2147483647 w 21600"/>
                <a:gd name="T13" fmla="*/ 2147483647 h 21600"/>
                <a:gd name="T14" fmla="*/ 0 w 21600"/>
                <a:gd name="T15" fmla="*/ 2147483647 h 2160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1000 w 21600"/>
                <a:gd name="T25" fmla="*/ 1000 h 21600"/>
                <a:gd name="T26" fmla="*/ 20600 w 21600"/>
                <a:gd name="T27" fmla="*/ 20600 h 21600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1600" h="21600">
                  <a:moveTo>
                    <a:pt x="0" y="0"/>
                  </a:moveTo>
                  <a:lnTo>
                    <a:pt x="21600" y="0"/>
                  </a:lnTo>
                  <a:lnTo>
                    <a:pt x="21600" y="21600"/>
                  </a:lnTo>
                  <a:lnTo>
                    <a:pt x="0" y="21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0E1DF"/>
            </a:solidFill>
            <a:ln w="3175">
              <a:solidFill>
                <a:srgbClr val="A2A3A5"/>
              </a:solidFill>
              <a:miter lim="800000"/>
              <a:headEnd/>
              <a:tailEnd/>
            </a:ln>
          </p:spPr>
          <p:txBody>
            <a:bodyPr lIns="91413" tIns="45709" rIns="91413" bIns="45709"/>
            <a:lstStyle/>
            <a:p>
              <a:endParaRPr lang="de-DE"/>
            </a:p>
          </p:txBody>
        </p:sp>
        <p:sp>
          <p:nvSpPr>
            <p:cNvPr id="30" name="Oval 49">
              <a:extLst>
                <a:ext uri="{FF2B5EF4-FFF2-40B4-BE49-F238E27FC236}">
                  <a16:creationId xmlns:a16="http://schemas.microsoft.com/office/drawing/2014/main" id="{4F006D8E-BA09-4CAF-A361-608F15CED7E3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14"/>
              </p:custDataLst>
            </p:nvPr>
          </p:nvSpPr>
          <p:spPr bwMode="auto">
            <a:xfrm rot="5400000">
              <a:off x="5897563" y="5717614"/>
              <a:ext cx="109537" cy="106363"/>
            </a:xfrm>
            <a:prstGeom prst="ellipse">
              <a:avLst/>
            </a:prstGeom>
            <a:gradFill rotWithShape="1">
              <a:gsLst>
                <a:gs pos="0">
                  <a:srgbClr val="FE0000"/>
                </a:gs>
                <a:gs pos="100000">
                  <a:srgbClr val="A60000"/>
                </a:gs>
              </a:gsLst>
              <a:lin ang="2700000" scaled="1"/>
            </a:gradFill>
            <a:ln w="6350" algn="ctr">
              <a:solidFill>
                <a:srgbClr val="333333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31" name="Oval 49">
              <a:extLst>
                <a:ext uri="{FF2B5EF4-FFF2-40B4-BE49-F238E27FC236}">
                  <a16:creationId xmlns:a16="http://schemas.microsoft.com/office/drawing/2014/main" id="{F1C20F40-4262-4744-8B9F-03E237D437D8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15"/>
              </p:custDataLst>
            </p:nvPr>
          </p:nvSpPr>
          <p:spPr bwMode="auto">
            <a:xfrm rot="5400000">
              <a:off x="6039644" y="5716821"/>
              <a:ext cx="107950" cy="106362"/>
            </a:xfrm>
            <a:prstGeom prst="ellipse">
              <a:avLst/>
            </a:prstGeom>
            <a:gradFill rotWithShape="1">
              <a:gsLst>
                <a:gs pos="0">
                  <a:srgbClr val="E6E6E6"/>
                </a:gs>
                <a:gs pos="100000">
                  <a:srgbClr val="979797"/>
                </a:gs>
              </a:gsLst>
              <a:lin ang="2700000" scaled="1"/>
            </a:gradFill>
            <a:ln w="6350" algn="ctr">
              <a:solidFill>
                <a:srgbClr val="808080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rot="10800000" vert="eaVert"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32" name="Oval 20">
              <a:extLst>
                <a:ext uri="{FF2B5EF4-FFF2-40B4-BE49-F238E27FC236}">
                  <a16:creationId xmlns:a16="http://schemas.microsoft.com/office/drawing/2014/main" id="{0C9E78B7-F58F-42EA-B1E4-2B1EFB4D271B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16"/>
              </p:custDataLst>
            </p:nvPr>
          </p:nvSpPr>
          <p:spPr bwMode="auto">
            <a:xfrm rot="5400000">
              <a:off x="6178550" y="5716027"/>
              <a:ext cx="107950" cy="107950"/>
            </a:xfrm>
            <a:prstGeom prst="ellipse">
              <a:avLst/>
            </a:prstGeom>
            <a:gradFill rotWithShape="1">
              <a:gsLst>
                <a:gs pos="0">
                  <a:srgbClr val="E6E6E6"/>
                </a:gs>
                <a:gs pos="100000">
                  <a:srgbClr val="979797"/>
                </a:gs>
              </a:gsLst>
              <a:lin ang="2700000" scaled="1"/>
            </a:gradFill>
            <a:ln w="6350" algn="ctr">
              <a:solidFill>
                <a:srgbClr val="808080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rot="10800000" vert="eaVert"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</p:grpSp>
      <p:grpSp>
        <p:nvGrpSpPr>
          <p:cNvPr id="33" name="Gruppieren 32">
            <a:extLst>
              <a:ext uri="{FF2B5EF4-FFF2-40B4-BE49-F238E27FC236}">
                <a16:creationId xmlns:a16="http://schemas.microsoft.com/office/drawing/2014/main" id="{88A4DC42-C1F7-40E8-8F2B-331146B9640C}"/>
              </a:ext>
            </a:extLst>
          </p:cNvPr>
          <p:cNvGrpSpPr/>
          <p:nvPr/>
        </p:nvGrpSpPr>
        <p:grpSpPr>
          <a:xfrm>
            <a:off x="8000168" y="2631091"/>
            <a:ext cx="500063" cy="157162"/>
            <a:chOff x="5857875" y="5690627"/>
            <a:chExt cx="500063" cy="157162"/>
          </a:xfrm>
        </p:grpSpPr>
        <p:sp>
          <p:nvSpPr>
            <p:cNvPr id="34" name="desk1">
              <a:extLst>
                <a:ext uri="{FF2B5EF4-FFF2-40B4-BE49-F238E27FC236}">
                  <a16:creationId xmlns:a16="http://schemas.microsoft.com/office/drawing/2014/main" id="{BA4C5C3D-0CC2-4E4A-BC5F-3F6829B63439}"/>
                </a:ext>
              </a:extLst>
            </p:cNvPr>
            <p:cNvSpPr>
              <a:spLocks noChangeAspect="1" noEditPoints="1"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5857875" y="5690627"/>
              <a:ext cx="500063" cy="157162"/>
            </a:xfrm>
            <a:custGeom>
              <a:avLst/>
              <a:gdLst>
                <a:gd name="T0" fmla="*/ 0 w 21600"/>
                <a:gd name="T1" fmla="*/ 0 h 21600"/>
                <a:gd name="T2" fmla="*/ 2147483647 w 21600"/>
                <a:gd name="T3" fmla="*/ 0 h 21600"/>
                <a:gd name="T4" fmla="*/ 2147483647 w 21600"/>
                <a:gd name="T5" fmla="*/ 2147483647 h 21600"/>
                <a:gd name="T6" fmla="*/ 0 w 21600"/>
                <a:gd name="T7" fmla="*/ 2147483647 h 21600"/>
                <a:gd name="T8" fmla="*/ 2147483647 w 21600"/>
                <a:gd name="T9" fmla="*/ 0 h 21600"/>
                <a:gd name="T10" fmla="*/ 2147483647 w 21600"/>
                <a:gd name="T11" fmla="*/ 2147483647 h 21600"/>
                <a:gd name="T12" fmla="*/ 2147483647 w 21600"/>
                <a:gd name="T13" fmla="*/ 2147483647 h 21600"/>
                <a:gd name="T14" fmla="*/ 0 w 21600"/>
                <a:gd name="T15" fmla="*/ 2147483647 h 2160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1000 w 21600"/>
                <a:gd name="T25" fmla="*/ 1000 h 21600"/>
                <a:gd name="T26" fmla="*/ 20600 w 21600"/>
                <a:gd name="T27" fmla="*/ 20600 h 21600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1600" h="21600">
                  <a:moveTo>
                    <a:pt x="0" y="0"/>
                  </a:moveTo>
                  <a:lnTo>
                    <a:pt x="21600" y="0"/>
                  </a:lnTo>
                  <a:lnTo>
                    <a:pt x="21600" y="21600"/>
                  </a:lnTo>
                  <a:lnTo>
                    <a:pt x="0" y="21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0E1DF"/>
            </a:solidFill>
            <a:ln w="3175">
              <a:solidFill>
                <a:srgbClr val="A2A3A5"/>
              </a:solidFill>
              <a:miter lim="800000"/>
              <a:headEnd/>
              <a:tailEnd/>
            </a:ln>
          </p:spPr>
          <p:txBody>
            <a:bodyPr lIns="91413" tIns="45709" rIns="91413" bIns="45709"/>
            <a:lstStyle/>
            <a:p>
              <a:endParaRPr lang="de-DE"/>
            </a:p>
          </p:txBody>
        </p:sp>
        <p:sp>
          <p:nvSpPr>
            <p:cNvPr id="35" name="Oval 49">
              <a:extLst>
                <a:ext uri="{FF2B5EF4-FFF2-40B4-BE49-F238E27FC236}">
                  <a16:creationId xmlns:a16="http://schemas.microsoft.com/office/drawing/2014/main" id="{2761A3D7-0CBD-4AB4-A5A5-8C0F7A6A2369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10"/>
              </p:custDataLst>
            </p:nvPr>
          </p:nvSpPr>
          <p:spPr bwMode="auto">
            <a:xfrm rot="5400000">
              <a:off x="5897563" y="5717614"/>
              <a:ext cx="109537" cy="106363"/>
            </a:xfrm>
            <a:prstGeom prst="ellipse">
              <a:avLst/>
            </a:prstGeom>
            <a:gradFill rotWithShape="1">
              <a:gsLst>
                <a:gs pos="0">
                  <a:srgbClr val="FE0000"/>
                </a:gs>
                <a:gs pos="100000">
                  <a:srgbClr val="A60000"/>
                </a:gs>
              </a:gsLst>
              <a:lin ang="2700000" scaled="1"/>
            </a:gradFill>
            <a:ln w="6350" algn="ctr">
              <a:solidFill>
                <a:srgbClr val="333333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36" name="Oval 49">
              <a:extLst>
                <a:ext uri="{FF2B5EF4-FFF2-40B4-BE49-F238E27FC236}">
                  <a16:creationId xmlns:a16="http://schemas.microsoft.com/office/drawing/2014/main" id="{E6FFF198-746E-493A-84DA-BDBCBDD0DC75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11"/>
              </p:custDataLst>
            </p:nvPr>
          </p:nvSpPr>
          <p:spPr bwMode="auto">
            <a:xfrm rot="5400000">
              <a:off x="6039644" y="5716821"/>
              <a:ext cx="107950" cy="106362"/>
            </a:xfrm>
            <a:prstGeom prst="ellipse">
              <a:avLst/>
            </a:prstGeom>
            <a:gradFill rotWithShape="1">
              <a:gsLst>
                <a:gs pos="0">
                  <a:srgbClr val="E6E6E6"/>
                </a:gs>
                <a:gs pos="100000">
                  <a:srgbClr val="979797"/>
                </a:gs>
              </a:gsLst>
              <a:lin ang="2700000" scaled="1"/>
            </a:gradFill>
            <a:ln w="6350" algn="ctr">
              <a:solidFill>
                <a:srgbClr val="808080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rot="10800000" vert="eaVert"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37" name="Oval 20">
              <a:extLst>
                <a:ext uri="{FF2B5EF4-FFF2-40B4-BE49-F238E27FC236}">
                  <a16:creationId xmlns:a16="http://schemas.microsoft.com/office/drawing/2014/main" id="{B0E1518B-33B5-49C6-846A-629F206060CF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12"/>
              </p:custDataLst>
            </p:nvPr>
          </p:nvSpPr>
          <p:spPr bwMode="auto">
            <a:xfrm rot="5400000">
              <a:off x="6178550" y="5716027"/>
              <a:ext cx="107950" cy="107950"/>
            </a:xfrm>
            <a:prstGeom prst="ellipse">
              <a:avLst/>
            </a:prstGeom>
            <a:gradFill rotWithShape="1">
              <a:gsLst>
                <a:gs pos="0">
                  <a:srgbClr val="E6E6E6"/>
                </a:gs>
                <a:gs pos="100000">
                  <a:srgbClr val="979797"/>
                </a:gs>
              </a:gsLst>
              <a:lin ang="2700000" scaled="1"/>
            </a:gradFill>
            <a:ln w="6350" algn="ctr">
              <a:solidFill>
                <a:srgbClr val="808080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rot="10800000" vert="eaVert"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</p:grpSp>
      <p:grpSp>
        <p:nvGrpSpPr>
          <p:cNvPr id="38" name="Gruppieren 37">
            <a:extLst>
              <a:ext uri="{FF2B5EF4-FFF2-40B4-BE49-F238E27FC236}">
                <a16:creationId xmlns:a16="http://schemas.microsoft.com/office/drawing/2014/main" id="{0309C939-0CE0-4C6A-8758-805704B051FE}"/>
              </a:ext>
            </a:extLst>
          </p:cNvPr>
          <p:cNvGrpSpPr/>
          <p:nvPr/>
        </p:nvGrpSpPr>
        <p:grpSpPr>
          <a:xfrm>
            <a:off x="8000168" y="2937996"/>
            <a:ext cx="500063" cy="157162"/>
            <a:chOff x="5857875" y="5690627"/>
            <a:chExt cx="500063" cy="157162"/>
          </a:xfrm>
        </p:grpSpPr>
        <p:sp>
          <p:nvSpPr>
            <p:cNvPr id="39" name="desk1">
              <a:extLst>
                <a:ext uri="{FF2B5EF4-FFF2-40B4-BE49-F238E27FC236}">
                  <a16:creationId xmlns:a16="http://schemas.microsoft.com/office/drawing/2014/main" id="{F8D11363-F84A-4C07-AFFC-3AB48882FCFC}"/>
                </a:ext>
              </a:extLst>
            </p:cNvPr>
            <p:cNvSpPr>
              <a:spLocks noChangeAspect="1" noEditPoints="1"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5857875" y="5690627"/>
              <a:ext cx="500063" cy="157162"/>
            </a:xfrm>
            <a:custGeom>
              <a:avLst/>
              <a:gdLst>
                <a:gd name="T0" fmla="*/ 0 w 21600"/>
                <a:gd name="T1" fmla="*/ 0 h 21600"/>
                <a:gd name="T2" fmla="*/ 2147483647 w 21600"/>
                <a:gd name="T3" fmla="*/ 0 h 21600"/>
                <a:gd name="T4" fmla="*/ 2147483647 w 21600"/>
                <a:gd name="T5" fmla="*/ 2147483647 h 21600"/>
                <a:gd name="T6" fmla="*/ 0 w 21600"/>
                <a:gd name="T7" fmla="*/ 2147483647 h 21600"/>
                <a:gd name="T8" fmla="*/ 2147483647 w 21600"/>
                <a:gd name="T9" fmla="*/ 0 h 21600"/>
                <a:gd name="T10" fmla="*/ 2147483647 w 21600"/>
                <a:gd name="T11" fmla="*/ 2147483647 h 21600"/>
                <a:gd name="T12" fmla="*/ 2147483647 w 21600"/>
                <a:gd name="T13" fmla="*/ 2147483647 h 21600"/>
                <a:gd name="T14" fmla="*/ 0 w 21600"/>
                <a:gd name="T15" fmla="*/ 2147483647 h 2160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1000 w 21600"/>
                <a:gd name="T25" fmla="*/ 1000 h 21600"/>
                <a:gd name="T26" fmla="*/ 20600 w 21600"/>
                <a:gd name="T27" fmla="*/ 20600 h 21600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1600" h="21600">
                  <a:moveTo>
                    <a:pt x="0" y="0"/>
                  </a:moveTo>
                  <a:lnTo>
                    <a:pt x="21600" y="0"/>
                  </a:lnTo>
                  <a:lnTo>
                    <a:pt x="21600" y="21600"/>
                  </a:lnTo>
                  <a:lnTo>
                    <a:pt x="0" y="21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0E1DF"/>
            </a:solidFill>
            <a:ln w="3175">
              <a:solidFill>
                <a:srgbClr val="A2A3A5"/>
              </a:solidFill>
              <a:miter lim="800000"/>
              <a:headEnd/>
              <a:tailEnd/>
            </a:ln>
          </p:spPr>
          <p:txBody>
            <a:bodyPr lIns="91413" tIns="45709" rIns="91413" bIns="45709"/>
            <a:lstStyle/>
            <a:p>
              <a:endParaRPr lang="de-DE"/>
            </a:p>
          </p:txBody>
        </p:sp>
        <p:sp>
          <p:nvSpPr>
            <p:cNvPr id="40" name="Oval 49">
              <a:extLst>
                <a:ext uri="{FF2B5EF4-FFF2-40B4-BE49-F238E27FC236}">
                  <a16:creationId xmlns:a16="http://schemas.microsoft.com/office/drawing/2014/main" id="{93AD439C-C1AC-4E9E-8A40-FC5A50908019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6"/>
              </p:custDataLst>
            </p:nvPr>
          </p:nvSpPr>
          <p:spPr bwMode="auto">
            <a:xfrm rot="5400000">
              <a:off x="5897563" y="5717614"/>
              <a:ext cx="109537" cy="106363"/>
            </a:xfrm>
            <a:prstGeom prst="ellipse">
              <a:avLst/>
            </a:prstGeom>
            <a:gradFill rotWithShape="1">
              <a:gsLst>
                <a:gs pos="0">
                  <a:srgbClr val="FE0000"/>
                </a:gs>
                <a:gs pos="100000">
                  <a:srgbClr val="A60000"/>
                </a:gs>
              </a:gsLst>
              <a:lin ang="2700000" scaled="1"/>
            </a:gradFill>
            <a:ln w="6350" algn="ctr">
              <a:solidFill>
                <a:srgbClr val="333333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41" name="Oval 49">
              <a:extLst>
                <a:ext uri="{FF2B5EF4-FFF2-40B4-BE49-F238E27FC236}">
                  <a16:creationId xmlns:a16="http://schemas.microsoft.com/office/drawing/2014/main" id="{E330B0CA-BF75-4582-96BD-C1B0768DCD65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7"/>
              </p:custDataLst>
            </p:nvPr>
          </p:nvSpPr>
          <p:spPr bwMode="auto">
            <a:xfrm rot="5400000">
              <a:off x="6039644" y="5716821"/>
              <a:ext cx="107950" cy="106362"/>
            </a:xfrm>
            <a:prstGeom prst="ellipse">
              <a:avLst/>
            </a:prstGeom>
            <a:gradFill rotWithShape="1">
              <a:gsLst>
                <a:gs pos="0">
                  <a:srgbClr val="E6E6E6"/>
                </a:gs>
                <a:gs pos="100000">
                  <a:srgbClr val="979797"/>
                </a:gs>
              </a:gsLst>
              <a:lin ang="2700000" scaled="1"/>
            </a:gradFill>
            <a:ln w="6350" algn="ctr">
              <a:solidFill>
                <a:srgbClr val="808080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rot="10800000" vert="eaVert"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42" name="Oval 20">
              <a:extLst>
                <a:ext uri="{FF2B5EF4-FFF2-40B4-BE49-F238E27FC236}">
                  <a16:creationId xmlns:a16="http://schemas.microsoft.com/office/drawing/2014/main" id="{2602D407-8C54-48D2-BAA4-9000E9A1A324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8"/>
              </p:custDataLst>
            </p:nvPr>
          </p:nvSpPr>
          <p:spPr bwMode="auto">
            <a:xfrm rot="5400000">
              <a:off x="6178550" y="5716027"/>
              <a:ext cx="107950" cy="107950"/>
            </a:xfrm>
            <a:prstGeom prst="ellipse">
              <a:avLst/>
            </a:prstGeom>
            <a:gradFill rotWithShape="1">
              <a:gsLst>
                <a:gs pos="0">
                  <a:srgbClr val="E6E6E6"/>
                </a:gs>
                <a:gs pos="100000">
                  <a:srgbClr val="979797"/>
                </a:gs>
              </a:gsLst>
              <a:lin ang="2700000" scaled="1"/>
            </a:gradFill>
            <a:ln w="6350" algn="ctr">
              <a:solidFill>
                <a:srgbClr val="808080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rot="10800000" vert="eaVert"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</p:grpSp>
      <p:grpSp>
        <p:nvGrpSpPr>
          <p:cNvPr id="43" name="Gruppieren 48">
            <a:extLst>
              <a:ext uri="{FF2B5EF4-FFF2-40B4-BE49-F238E27FC236}">
                <a16:creationId xmlns:a16="http://schemas.microsoft.com/office/drawing/2014/main" id="{99EC53F5-F54E-4AFA-8BEC-FE814161CAEC}"/>
              </a:ext>
            </a:extLst>
          </p:cNvPr>
          <p:cNvGrpSpPr>
            <a:grpSpLocks/>
          </p:cNvGrpSpPr>
          <p:nvPr/>
        </p:nvGrpSpPr>
        <p:grpSpPr bwMode="auto">
          <a:xfrm>
            <a:off x="8010311" y="3242249"/>
            <a:ext cx="500063" cy="157162"/>
            <a:chOff x="2786050" y="5694380"/>
            <a:chExt cx="500066" cy="157145"/>
          </a:xfrm>
        </p:grpSpPr>
        <p:sp>
          <p:nvSpPr>
            <p:cNvPr id="44" name="desk1">
              <a:extLst>
                <a:ext uri="{FF2B5EF4-FFF2-40B4-BE49-F238E27FC236}">
                  <a16:creationId xmlns:a16="http://schemas.microsoft.com/office/drawing/2014/main" id="{C0E83A6E-6260-42F2-A630-A07D6E68DAC5}"/>
                </a:ext>
              </a:extLst>
            </p:cNvPr>
            <p:cNvSpPr>
              <a:spLocks noChangeAspect="1" noEditPoints="1"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2786050" y="5694380"/>
              <a:ext cx="500066" cy="157145"/>
            </a:xfrm>
            <a:custGeom>
              <a:avLst/>
              <a:gdLst>
                <a:gd name="T0" fmla="*/ 0 w 21600"/>
                <a:gd name="T1" fmla="*/ 0 h 21600"/>
                <a:gd name="T2" fmla="*/ 2147483647 w 21600"/>
                <a:gd name="T3" fmla="*/ 0 h 21600"/>
                <a:gd name="T4" fmla="*/ 2147483647 w 21600"/>
                <a:gd name="T5" fmla="*/ 2147483647 h 21600"/>
                <a:gd name="T6" fmla="*/ 0 w 21600"/>
                <a:gd name="T7" fmla="*/ 2147483647 h 21600"/>
                <a:gd name="T8" fmla="*/ 2147483647 w 21600"/>
                <a:gd name="T9" fmla="*/ 0 h 21600"/>
                <a:gd name="T10" fmla="*/ 2147483647 w 21600"/>
                <a:gd name="T11" fmla="*/ 2147483647 h 21600"/>
                <a:gd name="T12" fmla="*/ 2147483647 w 21600"/>
                <a:gd name="T13" fmla="*/ 2147483647 h 21600"/>
                <a:gd name="T14" fmla="*/ 0 w 21600"/>
                <a:gd name="T15" fmla="*/ 2147483647 h 2160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1000 w 21600"/>
                <a:gd name="T25" fmla="*/ 1000 h 21600"/>
                <a:gd name="T26" fmla="*/ 20600 w 21600"/>
                <a:gd name="T27" fmla="*/ 20600 h 21600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1600" h="21600">
                  <a:moveTo>
                    <a:pt x="0" y="0"/>
                  </a:moveTo>
                  <a:lnTo>
                    <a:pt x="21600" y="0"/>
                  </a:lnTo>
                  <a:lnTo>
                    <a:pt x="21600" y="21600"/>
                  </a:lnTo>
                  <a:lnTo>
                    <a:pt x="0" y="21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0E1DF"/>
            </a:solidFill>
            <a:ln w="3175">
              <a:solidFill>
                <a:srgbClr val="A2A3A5"/>
              </a:solidFill>
              <a:miter lim="800000"/>
              <a:headEnd/>
              <a:tailEnd/>
            </a:ln>
          </p:spPr>
          <p:txBody>
            <a:bodyPr lIns="91413" tIns="45709" rIns="91413" bIns="45709"/>
            <a:lstStyle/>
            <a:p>
              <a:endParaRPr lang="de-DE"/>
            </a:p>
          </p:txBody>
        </p:sp>
        <p:sp>
          <p:nvSpPr>
            <p:cNvPr id="45" name="Oval 18">
              <a:extLst>
                <a:ext uri="{FF2B5EF4-FFF2-40B4-BE49-F238E27FC236}">
                  <a16:creationId xmlns:a16="http://schemas.microsoft.com/office/drawing/2014/main" id="{512B2053-D7A7-4FDB-AA81-C651932FD87C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2"/>
              </p:custDataLst>
            </p:nvPr>
          </p:nvSpPr>
          <p:spPr bwMode="auto">
            <a:xfrm rot="5400000">
              <a:off x="2967032" y="5719771"/>
              <a:ext cx="107938" cy="107951"/>
            </a:xfrm>
            <a:prstGeom prst="ellipse">
              <a:avLst/>
            </a:prstGeom>
            <a:gradFill rotWithShape="1">
              <a:gsLst>
                <a:gs pos="0">
                  <a:srgbClr val="FEFE00"/>
                </a:gs>
                <a:gs pos="100000">
                  <a:srgbClr val="A6A600"/>
                </a:gs>
              </a:gsLst>
              <a:lin ang="2700000" scaled="1"/>
            </a:gradFill>
            <a:ln w="6350" algn="ctr">
              <a:solidFill>
                <a:srgbClr val="333333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46" name="Oval 49">
              <a:extLst>
                <a:ext uri="{FF2B5EF4-FFF2-40B4-BE49-F238E27FC236}">
                  <a16:creationId xmlns:a16="http://schemas.microsoft.com/office/drawing/2014/main" id="{7D1EF024-AB7B-4636-85A7-C7A77C505F1E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3"/>
              </p:custDataLst>
            </p:nvPr>
          </p:nvSpPr>
          <p:spPr bwMode="auto">
            <a:xfrm rot="5400000">
              <a:off x="2826537" y="5718977"/>
              <a:ext cx="109526" cy="107951"/>
            </a:xfrm>
            <a:prstGeom prst="ellipse">
              <a:avLst/>
            </a:prstGeom>
            <a:gradFill rotWithShape="1">
              <a:gsLst>
                <a:gs pos="0">
                  <a:srgbClr val="E6E6E6"/>
                </a:gs>
                <a:gs pos="100000">
                  <a:srgbClr val="979797"/>
                </a:gs>
              </a:gsLst>
              <a:lin ang="2700000" scaled="1"/>
            </a:gradFill>
            <a:ln w="6350" algn="ctr">
              <a:solidFill>
                <a:srgbClr val="808080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rot="10800000" vert="eaVert"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47" name="Oval 49">
              <a:extLst>
                <a:ext uri="{FF2B5EF4-FFF2-40B4-BE49-F238E27FC236}">
                  <a16:creationId xmlns:a16="http://schemas.microsoft.com/office/drawing/2014/main" id="{220785D7-5D24-4040-AC44-CE34CB1E8DCF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4"/>
              </p:custDataLst>
            </p:nvPr>
          </p:nvSpPr>
          <p:spPr bwMode="auto">
            <a:xfrm rot="5400000">
              <a:off x="3106733" y="5719771"/>
              <a:ext cx="109526" cy="106363"/>
            </a:xfrm>
            <a:prstGeom prst="ellipse">
              <a:avLst/>
            </a:prstGeom>
            <a:gradFill rotWithShape="1">
              <a:gsLst>
                <a:gs pos="0">
                  <a:srgbClr val="E6E6E6"/>
                </a:gs>
                <a:gs pos="100000">
                  <a:srgbClr val="979797"/>
                </a:gs>
              </a:gsLst>
              <a:lin ang="2700000" scaled="1"/>
            </a:gradFill>
            <a:ln w="6350" algn="ctr">
              <a:solidFill>
                <a:srgbClr val="808080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rot="10800000" vert="eaVert"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666878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2"/>
          <p:cNvSpPr>
            <a:spLocks noGrp="1" noChangeArrowheads="1"/>
          </p:cNvSpPr>
          <p:nvPr>
            <p:ph type="title"/>
          </p:nvPr>
        </p:nvSpPr>
        <p:spPr>
          <a:xfrm>
            <a:off x="573088" y="181219"/>
            <a:ext cx="8074025" cy="384721"/>
          </a:xfrm>
        </p:spPr>
        <p:txBody>
          <a:bodyPr/>
          <a:lstStyle/>
          <a:p>
            <a:r>
              <a:rPr lang="de-DE" sz="2500" kern="1200" dirty="0"/>
              <a:t>Klassifizierung am Beispiel Elektrofahrzeug</a:t>
            </a:r>
            <a:endParaRPr lang="de-DE" dirty="0"/>
          </a:p>
        </p:txBody>
      </p:sp>
      <p:sp>
        <p:nvSpPr>
          <p:cNvPr id="12" name="Text Box 4"/>
          <p:cNvSpPr txBox="1">
            <a:spLocks noChangeArrowheads="1"/>
          </p:cNvSpPr>
          <p:nvPr/>
        </p:nvSpPr>
        <p:spPr bwMode="auto">
          <a:xfrm>
            <a:off x="573088" y="573088"/>
            <a:ext cx="8074025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accent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algn="l"/>
            <a:r>
              <a:rPr lang="de-DE" sz="1800" dirty="0">
                <a:solidFill>
                  <a:schemeClr val="bg1"/>
                </a:solidFill>
              </a:rPr>
              <a:t>Projektmeilensteine</a:t>
            </a:r>
          </a:p>
        </p:txBody>
      </p:sp>
      <p:graphicFrame>
        <p:nvGraphicFramePr>
          <p:cNvPr id="4" name="Tabel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57128857"/>
              </p:ext>
            </p:extLst>
          </p:nvPr>
        </p:nvGraphicFramePr>
        <p:xfrm>
          <a:off x="573088" y="1309785"/>
          <a:ext cx="8074024" cy="459606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12940">
                  <a:extLst>
                    <a:ext uri="{9D8B030D-6E8A-4147-A177-3AD203B41FA5}">
                      <a16:colId xmlns:a16="http://schemas.microsoft.com/office/drawing/2014/main" val="1244117558"/>
                    </a:ext>
                  </a:extLst>
                </a:gridCol>
                <a:gridCol w="2167499">
                  <a:extLst>
                    <a:ext uri="{9D8B030D-6E8A-4147-A177-3AD203B41FA5}">
                      <a16:colId xmlns:a16="http://schemas.microsoft.com/office/drawing/2014/main" val="267932930"/>
                    </a:ext>
                  </a:extLst>
                </a:gridCol>
                <a:gridCol w="1219218">
                  <a:extLst>
                    <a:ext uri="{9D8B030D-6E8A-4147-A177-3AD203B41FA5}">
                      <a16:colId xmlns:a16="http://schemas.microsoft.com/office/drawing/2014/main" val="1111106065"/>
                    </a:ext>
                  </a:extLst>
                </a:gridCol>
                <a:gridCol w="938604">
                  <a:extLst>
                    <a:ext uri="{9D8B030D-6E8A-4147-A177-3AD203B41FA5}">
                      <a16:colId xmlns:a16="http://schemas.microsoft.com/office/drawing/2014/main" val="3928458255"/>
                    </a:ext>
                  </a:extLst>
                </a:gridCol>
                <a:gridCol w="1112240">
                  <a:extLst>
                    <a:ext uri="{9D8B030D-6E8A-4147-A177-3AD203B41FA5}">
                      <a16:colId xmlns:a16="http://schemas.microsoft.com/office/drawing/2014/main" val="1427106432"/>
                    </a:ext>
                  </a:extLst>
                </a:gridCol>
                <a:gridCol w="1323523">
                  <a:extLst>
                    <a:ext uri="{9D8B030D-6E8A-4147-A177-3AD203B41FA5}">
                      <a16:colId xmlns:a16="http://schemas.microsoft.com/office/drawing/2014/main" val="3183141821"/>
                    </a:ext>
                  </a:extLst>
                </a:gridCol>
              </a:tblGrid>
              <a:tr h="318990">
                <a:tc rowSpan="2">
                  <a:txBody>
                    <a:bodyPr/>
                    <a:lstStyle/>
                    <a:p>
                      <a:pPr algn="l"/>
                      <a:r>
                        <a:rPr lang="de-DE" sz="1400" dirty="0">
                          <a:solidFill>
                            <a:schemeClr val="tx1"/>
                          </a:solidFill>
                        </a:rPr>
                        <a:t>Meilenstein</a:t>
                      </a:r>
                    </a:p>
                  </a:txBody>
                  <a:tcPr anchor="ctr"/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de-DE" sz="1400" dirty="0">
                          <a:solidFill>
                            <a:schemeClr val="tx1"/>
                          </a:solidFill>
                        </a:rPr>
                        <a:t>Aufgaben</a:t>
                      </a:r>
                      <a:r>
                        <a:rPr lang="de-DE" sz="1400" baseline="0" dirty="0">
                          <a:solidFill>
                            <a:schemeClr val="tx1"/>
                          </a:solidFill>
                        </a:rPr>
                        <a:t> (bei Bedarf)</a:t>
                      </a:r>
                      <a:endParaRPr lang="de-DE" sz="1400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de-DE" sz="1400" dirty="0">
                          <a:solidFill>
                            <a:schemeClr val="tx1"/>
                          </a:solidFill>
                        </a:rPr>
                        <a:t>Terminplan</a:t>
                      </a: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algn="ctr"/>
                      <a:endParaRPr lang="de-DE" sz="16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de-DE" sz="1400" dirty="0">
                          <a:solidFill>
                            <a:schemeClr val="tx1"/>
                          </a:solidFill>
                        </a:rPr>
                        <a:t>Verantwortlich</a:t>
                      </a:r>
                    </a:p>
                  </a:txBody>
                  <a:tcPr anchor="ctr"/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de-DE" sz="1400" dirty="0">
                          <a:solidFill>
                            <a:schemeClr val="tx1"/>
                          </a:solidFill>
                        </a:rPr>
                        <a:t>Status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967054823"/>
                  </a:ext>
                </a:extLst>
              </a:tr>
              <a:tr h="475349"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b="1" dirty="0">
                          <a:solidFill>
                            <a:schemeClr val="tx1"/>
                          </a:solidFill>
                        </a:rPr>
                        <a:t>Ursprung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b="1" dirty="0">
                          <a:solidFill>
                            <a:schemeClr val="tx1"/>
                          </a:solidFill>
                        </a:rPr>
                        <a:t>Aktuell</a:t>
                      </a:r>
                    </a:p>
                  </a:txBody>
                  <a:tcPr anchor="ctr"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14312058"/>
                  </a:ext>
                </a:extLst>
              </a:tr>
              <a:tr h="1630905"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0" i="0" u="none" strike="noStrike" dirty="0">
                          <a:latin typeface="TKTypeMedium"/>
                        </a:rPr>
                        <a:t>Grundlagen des Projekts festlege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285750" marR="0" indent="-2857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de-DE" sz="900" b="0" i="0" u="none" strike="noStrike" dirty="0">
                          <a:latin typeface="TKTypeMedium"/>
                        </a:rPr>
                        <a:t>Kriterien auswählen</a:t>
                      </a:r>
                    </a:p>
                    <a:p>
                      <a:pPr marL="285750" marR="0" indent="-2857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de-DE" sz="900" b="0" i="0" u="none" strike="noStrike" dirty="0">
                          <a:latin typeface="TKTypeMedium"/>
                        </a:rPr>
                        <a:t>Kriterien suchen</a:t>
                      </a:r>
                    </a:p>
                    <a:p>
                      <a:pPr marL="285750" marR="0" indent="-2857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de-DE" sz="900" b="0" i="0" u="none" strike="noStrike" dirty="0">
                          <a:latin typeface="TKTypeMedium"/>
                        </a:rPr>
                        <a:t>Datengrundlage schaffen</a:t>
                      </a:r>
                    </a:p>
                    <a:p>
                      <a:pPr marL="285750" marR="0" indent="-2857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de-DE" sz="900" b="0" i="0" u="none" strike="noStrike" dirty="0">
                          <a:latin typeface="TKTypeMedium"/>
                        </a:rPr>
                        <a:t>GitHub </a:t>
                      </a:r>
                      <a:r>
                        <a:rPr lang="de-DE" sz="900" b="0" i="0" u="none" strike="noStrike" dirty="0" err="1">
                          <a:latin typeface="TKTypeMedium"/>
                        </a:rPr>
                        <a:t>repository</a:t>
                      </a:r>
                      <a:r>
                        <a:rPr lang="de-DE" sz="900" b="0" i="0" u="none" strike="noStrike" dirty="0">
                          <a:latin typeface="TKTypeMedium"/>
                        </a:rPr>
                        <a:t> anlegen zur Versions Kontrolle</a:t>
                      </a:r>
                    </a:p>
                    <a:p>
                      <a:pPr marL="285750" marR="0" indent="-2857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de-DE" sz="900" b="0" i="0" u="none" strike="noStrike" dirty="0">
                          <a:latin typeface="TKTypeMedium"/>
                        </a:rPr>
                        <a:t>Festlegen des Zeitmanagements</a:t>
                      </a:r>
                    </a:p>
                    <a:p>
                      <a:pPr marL="285750" marR="0" indent="-2857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de-DE" sz="900" b="0" i="0" u="none" strike="noStrike" dirty="0">
                          <a:latin typeface="TKTypeMedium"/>
                        </a:rPr>
                        <a:t>Aufgaben Zuweisung</a:t>
                      </a:r>
                    </a:p>
                    <a:p>
                      <a:pPr marL="285750" marR="0" indent="-2857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de-DE" sz="900" b="0" i="0" u="none" strike="noStrike" dirty="0">
                          <a:latin typeface="TKTypeMedium"/>
                        </a:rPr>
                        <a:t>Kommunikation steuern</a:t>
                      </a:r>
                    </a:p>
                    <a:p>
                      <a:pPr marL="285750" marR="0" indent="-2857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de-DE" sz="900" b="0" i="0" u="none" strike="noStrike" dirty="0">
                          <a:latin typeface="TKTypeMedium"/>
                        </a:rPr>
                        <a:t>Festlegen von Dokumentationsvorschrifte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0" i="0" u="none" strike="noStrike" dirty="0">
                          <a:latin typeface="TKTypeMedium"/>
                        </a:rPr>
                        <a:t>KW 45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400" dirty="0"/>
                        <a:t>KW 45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0" i="0" u="none" strike="noStrike" dirty="0">
                          <a:latin typeface="TKTypeMedium"/>
                        </a:rPr>
                        <a:t>Timo Frank, Williams </a:t>
                      </a:r>
                      <a:r>
                        <a:rPr lang="de-DE" sz="1400" b="0" i="0" u="none" strike="noStrike" dirty="0" err="1">
                          <a:latin typeface="TKTypeMedium"/>
                        </a:rPr>
                        <a:t>Woutakno</a:t>
                      </a:r>
                      <a:r>
                        <a:rPr lang="de-DE" sz="1400" b="0" i="0" u="none" strike="noStrike" dirty="0">
                          <a:latin typeface="TKTypeMedium"/>
                        </a:rPr>
                        <a:t>, Sascha Plat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>
                          <a:solidFill>
                            <a:schemeClr val="tx1"/>
                          </a:solidFill>
                        </a:rPr>
                        <a:t>Erledigt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44985513"/>
                  </a:ext>
                </a:extLst>
              </a:tr>
              <a:tr h="1190229"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TKTypeMedium"/>
                          <a:ea typeface="ＭＳ Ｐゴシック"/>
                          <a:cs typeface="+mn-cs"/>
                        </a:rPr>
                        <a:t>Applikation fertiggestell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de-DE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ie erstelle ich eine Python GUI? </a:t>
                      </a:r>
                    </a:p>
                    <a:p>
                      <a:pPr marL="171450" marR="0" lvl="0" indent="-171450" algn="l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de-DE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ie erstelle ich eine Python exe? </a:t>
                      </a:r>
                    </a:p>
                    <a:p>
                      <a:pPr marL="171450" marR="0" lvl="0" indent="-171450" algn="l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de-DE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ie designe ich den Python Algorithmus? </a:t>
                      </a:r>
                    </a:p>
                    <a:p>
                      <a:pPr marL="171450" marR="0" lvl="0" indent="-171450" algn="l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de-DE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rstellen der Python GUI</a:t>
                      </a:r>
                    </a:p>
                    <a:p>
                      <a:pPr marL="171450" marR="0" lvl="0" indent="-171450" algn="l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de-DE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rstellen der Python exe</a:t>
                      </a:r>
                    </a:p>
                    <a:p>
                      <a:pPr marL="171450" marR="0" lvl="0" indent="-171450" algn="l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de-DE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rstellen des Python Algorithmus</a:t>
                      </a:r>
                    </a:p>
                    <a:p>
                      <a:pPr marL="171450" marR="0" lvl="0" indent="-171450" algn="l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de-DE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inale Test der Applikation</a:t>
                      </a:r>
                    </a:p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endParaRPr lang="de-DE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0" i="0" u="none" strike="noStrike" dirty="0">
                          <a:latin typeface="TKTypeMedium"/>
                        </a:rPr>
                        <a:t>KW 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/>
                        <a:t>KW 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0" i="0" u="none" strike="noStrike" dirty="0">
                          <a:latin typeface="TKTypeMedium"/>
                        </a:rPr>
                        <a:t>Timo Frank, Williams </a:t>
                      </a:r>
                      <a:r>
                        <a:rPr lang="de-DE" sz="1400" b="0" i="0" u="none" strike="noStrike" dirty="0" err="1">
                          <a:latin typeface="TKTypeMedium"/>
                        </a:rPr>
                        <a:t>Woutakno</a:t>
                      </a:r>
                      <a:r>
                        <a:rPr lang="de-DE" sz="1400" b="0" i="0" u="none" strike="noStrike" dirty="0">
                          <a:latin typeface="TKTypeMedium"/>
                        </a:rPr>
                        <a:t>, Sascha Plat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>
                          <a:solidFill>
                            <a:schemeClr val="tx1"/>
                          </a:solidFill>
                        </a:rPr>
                        <a:t>In Arbeit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393665331"/>
                  </a:ext>
                </a:extLst>
              </a:tr>
              <a:tr h="980593"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TKTypeMedium"/>
                          <a:ea typeface="ＭＳ Ｐゴシック"/>
                          <a:cs typeface="+mn-cs"/>
                        </a:rPr>
                        <a:t>Projekt fertiggestell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bschließen der Projektdokumentation</a:t>
                      </a:r>
                    </a:p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rstellen der Abschlusspräsentation</a:t>
                      </a:r>
                    </a:p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bschlusspräsentation halten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0" i="0" u="none" strike="noStrike" dirty="0">
                          <a:latin typeface="TKTypeMedium"/>
                        </a:rPr>
                        <a:t>KW 4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/>
                        <a:t> KW 4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0" i="0" u="none" strike="noStrike" dirty="0">
                          <a:latin typeface="TKTypeMedium"/>
                        </a:rPr>
                        <a:t>Timo Frank, Williams </a:t>
                      </a:r>
                      <a:r>
                        <a:rPr lang="de-DE" sz="1400" b="0" i="0" u="none" strike="noStrike" dirty="0" err="1">
                          <a:latin typeface="TKTypeMedium"/>
                        </a:rPr>
                        <a:t>Woutakno</a:t>
                      </a:r>
                      <a:r>
                        <a:rPr lang="de-DE" sz="1400" b="0" i="0" u="none" strike="noStrike" dirty="0">
                          <a:latin typeface="TKTypeMedium"/>
                        </a:rPr>
                        <a:t> Sascha Plat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>
                          <a:solidFill>
                            <a:schemeClr val="tx1"/>
                          </a:solidFill>
                        </a:rPr>
                        <a:t>offen</a:t>
                      </a:r>
                    </a:p>
                    <a:p>
                      <a:pPr algn="ctr"/>
                      <a:endParaRPr lang="de-DE" sz="1400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16390111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042587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2"/>
          <p:cNvSpPr>
            <a:spLocks noGrp="1" noChangeArrowheads="1"/>
          </p:cNvSpPr>
          <p:nvPr>
            <p:ph type="title"/>
          </p:nvPr>
        </p:nvSpPr>
        <p:spPr>
          <a:xfrm>
            <a:off x="573088" y="181219"/>
            <a:ext cx="8074025" cy="384721"/>
          </a:xfrm>
        </p:spPr>
        <p:txBody>
          <a:bodyPr/>
          <a:lstStyle/>
          <a:p>
            <a:r>
              <a:rPr lang="de-DE" sz="2500" kern="1200" dirty="0"/>
              <a:t>Klassifizierung am Beispiel Elektrofahrzeug</a:t>
            </a:r>
            <a:endParaRPr lang="de-DE" dirty="0"/>
          </a:p>
        </p:txBody>
      </p:sp>
      <p:sp>
        <p:nvSpPr>
          <p:cNvPr id="12" name="Text Box 4"/>
          <p:cNvSpPr txBox="1">
            <a:spLocks noChangeArrowheads="1"/>
          </p:cNvSpPr>
          <p:nvPr/>
        </p:nvSpPr>
        <p:spPr bwMode="auto">
          <a:xfrm>
            <a:off x="573088" y="573088"/>
            <a:ext cx="8074025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accent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algn="l"/>
            <a:r>
              <a:rPr lang="de-DE" sz="1800" dirty="0">
                <a:solidFill>
                  <a:schemeClr val="bg1"/>
                </a:solidFill>
              </a:rPr>
              <a:t>Projektkosten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12783F49-FD86-4C24-801B-783C3A0CB2F4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823" t="3932" b="-226"/>
          <a:stretch/>
        </p:blipFill>
        <p:spPr>
          <a:xfrm>
            <a:off x="2333001" y="1392964"/>
            <a:ext cx="4515473" cy="42558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7230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5">
            <a:extLst>
              <a:ext uri="{FF2B5EF4-FFF2-40B4-BE49-F238E27FC236}">
                <a16:creationId xmlns:a16="http://schemas.microsoft.com/office/drawing/2014/main" id="{338621B7-CE6A-4E38-A4FC-0F8D896BCDD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73087" y="1100064"/>
            <a:ext cx="8074025" cy="633486"/>
          </a:xfrm>
        </p:spPr>
        <p:txBody>
          <a:bodyPr/>
          <a:lstStyle/>
          <a:p>
            <a:r>
              <a:rPr lang="de-DE" dirty="0"/>
              <a:t>Was können wir tun, um die Risiken für den Projekterfolg zu minimieren?</a:t>
            </a:r>
          </a:p>
        </p:txBody>
      </p:sp>
      <p:sp>
        <p:nvSpPr>
          <p:cNvPr id="9" name="Rectangle 2"/>
          <p:cNvSpPr>
            <a:spLocks noGrp="1" noChangeArrowheads="1"/>
          </p:cNvSpPr>
          <p:nvPr>
            <p:ph type="title"/>
          </p:nvPr>
        </p:nvSpPr>
        <p:spPr>
          <a:xfrm>
            <a:off x="573088" y="181219"/>
            <a:ext cx="8074025" cy="384721"/>
          </a:xfrm>
        </p:spPr>
        <p:txBody>
          <a:bodyPr/>
          <a:lstStyle/>
          <a:p>
            <a:r>
              <a:rPr lang="de-DE" sz="2500" kern="1200" dirty="0"/>
              <a:t>Klassifizierung am Beispiel Elektrofahrzeug</a:t>
            </a:r>
            <a:endParaRPr lang="de-DE" dirty="0"/>
          </a:p>
        </p:txBody>
      </p:sp>
      <p:sp>
        <p:nvSpPr>
          <p:cNvPr id="12" name="Text Box 4"/>
          <p:cNvSpPr txBox="1">
            <a:spLocks noChangeArrowheads="1"/>
          </p:cNvSpPr>
          <p:nvPr/>
        </p:nvSpPr>
        <p:spPr bwMode="auto">
          <a:xfrm>
            <a:off x="573088" y="573088"/>
            <a:ext cx="8074025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accent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algn="l"/>
            <a:r>
              <a:rPr lang="de-DE" sz="1800" dirty="0">
                <a:solidFill>
                  <a:schemeClr val="bg1"/>
                </a:solidFill>
              </a:rPr>
              <a:t>Projekt-Risikoanalyse</a:t>
            </a:r>
          </a:p>
        </p:txBody>
      </p:sp>
      <p:sp>
        <p:nvSpPr>
          <p:cNvPr id="14" name="Text Box 3"/>
          <p:cNvSpPr txBox="1">
            <a:spLocks noChangeArrowheads="1"/>
          </p:cNvSpPr>
          <p:nvPr/>
        </p:nvSpPr>
        <p:spPr bwMode="gray">
          <a:xfrm>
            <a:off x="3725542" y="5797364"/>
            <a:ext cx="1780398" cy="3950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83077" tIns="43200" rIns="83077" bIns="4320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buClr>
                <a:schemeClr val="accent1"/>
              </a:buClr>
            </a:pPr>
            <a:r>
              <a:rPr lang="de-DE" altLang="de-DE" sz="2000" dirty="0"/>
              <a:t>Auswirkungen</a:t>
            </a:r>
            <a:endParaRPr lang="de-DE" altLang="de-DE" dirty="0"/>
          </a:p>
        </p:txBody>
      </p:sp>
      <p:sp>
        <p:nvSpPr>
          <p:cNvPr id="15" name="Text Box 4"/>
          <p:cNvSpPr txBox="1">
            <a:spLocks noChangeArrowheads="1"/>
          </p:cNvSpPr>
          <p:nvPr/>
        </p:nvSpPr>
        <p:spPr bwMode="gray">
          <a:xfrm rot="16200000">
            <a:off x="-1005024" y="3570961"/>
            <a:ext cx="3118905" cy="3950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83077" tIns="43200" rIns="83077" bIns="4320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buClr>
                <a:schemeClr val="accent1"/>
              </a:buClr>
            </a:pPr>
            <a:r>
              <a:rPr lang="de-DE" altLang="de-DE" sz="2000" dirty="0"/>
              <a:t>Auftrittswahrscheinlichkeit</a:t>
            </a:r>
            <a:endParaRPr lang="de-DE" altLang="de-DE" dirty="0"/>
          </a:p>
        </p:txBody>
      </p:sp>
      <p:sp>
        <p:nvSpPr>
          <p:cNvPr id="16" name="Line 5"/>
          <p:cNvSpPr>
            <a:spLocks noChangeShapeType="1"/>
          </p:cNvSpPr>
          <p:nvPr/>
        </p:nvSpPr>
        <p:spPr bwMode="auto">
          <a:xfrm flipV="1">
            <a:off x="1024083" y="1809251"/>
            <a:ext cx="0" cy="3745523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de-DE"/>
          </a:p>
        </p:txBody>
      </p:sp>
      <p:sp>
        <p:nvSpPr>
          <p:cNvPr id="17" name="Freeform 6"/>
          <p:cNvSpPr>
            <a:spLocks/>
          </p:cNvSpPr>
          <p:nvPr/>
        </p:nvSpPr>
        <p:spPr bwMode="auto">
          <a:xfrm>
            <a:off x="1024083" y="5569428"/>
            <a:ext cx="7731369" cy="1466"/>
          </a:xfrm>
          <a:custGeom>
            <a:avLst/>
            <a:gdLst>
              <a:gd name="T0" fmla="*/ 0 w 4170"/>
              <a:gd name="T1" fmla="*/ 0 h 1"/>
              <a:gd name="T2" fmla="*/ 2147483647 w 4170"/>
              <a:gd name="T3" fmla="*/ 0 h 1"/>
              <a:gd name="T4" fmla="*/ 0 60000 65536"/>
              <a:gd name="T5" fmla="*/ 0 60000 65536"/>
              <a:gd name="T6" fmla="*/ 0 w 4170"/>
              <a:gd name="T7" fmla="*/ 0 h 1"/>
              <a:gd name="T8" fmla="*/ 4170 w 4170"/>
              <a:gd name="T9" fmla="*/ 1 h 1"/>
            </a:gdLst>
            <a:ahLst/>
            <a:cxnLst>
              <a:cxn ang="T4">
                <a:pos x="T0" y="T1"/>
              </a:cxn>
              <a:cxn ang="T5">
                <a:pos x="T2" y="T3"/>
              </a:cxn>
            </a:cxnLst>
            <a:rect l="T6" t="T7" r="T8" b="T9"/>
            <a:pathLst>
              <a:path w="4170" h="1">
                <a:moveTo>
                  <a:pt x="0" y="0"/>
                </a:moveTo>
                <a:lnTo>
                  <a:pt x="4170" y="0"/>
                </a:lnTo>
              </a:path>
            </a:pathLst>
          </a:cu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endParaRPr lang="de-DE" altLang="de-DE"/>
          </a:p>
        </p:txBody>
      </p:sp>
      <p:sp>
        <p:nvSpPr>
          <p:cNvPr id="18" name="Line 7"/>
          <p:cNvSpPr>
            <a:spLocks noChangeShapeType="1"/>
          </p:cNvSpPr>
          <p:nvPr/>
        </p:nvSpPr>
        <p:spPr bwMode="auto">
          <a:xfrm flipH="1">
            <a:off x="3538683" y="1772617"/>
            <a:ext cx="17585" cy="3780692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de-DE"/>
          </a:p>
        </p:txBody>
      </p:sp>
      <p:sp>
        <p:nvSpPr>
          <p:cNvPr id="19" name="Line 8"/>
          <p:cNvSpPr>
            <a:spLocks noChangeShapeType="1"/>
          </p:cNvSpPr>
          <p:nvPr/>
        </p:nvSpPr>
        <p:spPr bwMode="auto">
          <a:xfrm>
            <a:off x="6065006" y="1772617"/>
            <a:ext cx="11723" cy="3786554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de-DE"/>
          </a:p>
        </p:txBody>
      </p:sp>
      <p:sp>
        <p:nvSpPr>
          <p:cNvPr id="20" name="Freeform 9"/>
          <p:cNvSpPr>
            <a:spLocks/>
          </p:cNvSpPr>
          <p:nvPr/>
        </p:nvSpPr>
        <p:spPr bwMode="auto">
          <a:xfrm>
            <a:off x="1037272" y="4287218"/>
            <a:ext cx="7540869" cy="1465"/>
          </a:xfrm>
          <a:custGeom>
            <a:avLst/>
            <a:gdLst>
              <a:gd name="T0" fmla="*/ 2147483647 w 4067"/>
              <a:gd name="T1" fmla="*/ 0 h 1"/>
              <a:gd name="T2" fmla="*/ 0 w 4067"/>
              <a:gd name="T3" fmla="*/ 0 h 1"/>
              <a:gd name="T4" fmla="*/ 0 60000 65536"/>
              <a:gd name="T5" fmla="*/ 0 60000 65536"/>
              <a:gd name="T6" fmla="*/ 0 w 4067"/>
              <a:gd name="T7" fmla="*/ 0 h 1"/>
              <a:gd name="T8" fmla="*/ 4067 w 4067"/>
              <a:gd name="T9" fmla="*/ 1 h 1"/>
            </a:gdLst>
            <a:ahLst/>
            <a:cxnLst>
              <a:cxn ang="T4">
                <a:pos x="T0" y="T1"/>
              </a:cxn>
              <a:cxn ang="T5">
                <a:pos x="T2" y="T3"/>
              </a:cxn>
            </a:cxnLst>
            <a:rect l="T6" t="T7" r="T8" b="T9"/>
            <a:pathLst>
              <a:path w="4067" h="1">
                <a:moveTo>
                  <a:pt x="4067" y="0"/>
                </a:moveTo>
                <a:lnTo>
                  <a:pt x="0" y="0"/>
                </a:lnTo>
              </a:path>
            </a:pathLst>
          </a:cu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endParaRPr lang="de-DE" altLang="de-DE"/>
          </a:p>
        </p:txBody>
      </p:sp>
      <p:sp>
        <p:nvSpPr>
          <p:cNvPr id="21" name="Freeform 10"/>
          <p:cNvSpPr>
            <a:spLocks/>
          </p:cNvSpPr>
          <p:nvPr/>
        </p:nvSpPr>
        <p:spPr bwMode="auto">
          <a:xfrm>
            <a:off x="1024084" y="3009402"/>
            <a:ext cx="7540869" cy="1465"/>
          </a:xfrm>
          <a:custGeom>
            <a:avLst/>
            <a:gdLst>
              <a:gd name="T0" fmla="*/ 2147483647 w 4067"/>
              <a:gd name="T1" fmla="*/ 0 h 1"/>
              <a:gd name="T2" fmla="*/ 0 w 4067"/>
              <a:gd name="T3" fmla="*/ 0 h 1"/>
              <a:gd name="T4" fmla="*/ 0 60000 65536"/>
              <a:gd name="T5" fmla="*/ 0 60000 65536"/>
              <a:gd name="T6" fmla="*/ 0 w 4067"/>
              <a:gd name="T7" fmla="*/ 0 h 1"/>
              <a:gd name="T8" fmla="*/ 4067 w 4067"/>
              <a:gd name="T9" fmla="*/ 1 h 1"/>
            </a:gdLst>
            <a:ahLst/>
            <a:cxnLst>
              <a:cxn ang="T4">
                <a:pos x="T0" y="T1"/>
              </a:cxn>
              <a:cxn ang="T5">
                <a:pos x="T2" y="T3"/>
              </a:cxn>
            </a:cxnLst>
            <a:rect l="T6" t="T7" r="T8" b="T9"/>
            <a:pathLst>
              <a:path w="4067" h="1">
                <a:moveTo>
                  <a:pt x="4067" y="0"/>
                </a:moveTo>
                <a:lnTo>
                  <a:pt x="0" y="0"/>
                </a:lnTo>
              </a:path>
            </a:pathLst>
          </a:cu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endParaRPr lang="de-DE" altLang="de-DE"/>
          </a:p>
        </p:txBody>
      </p:sp>
      <p:sp>
        <p:nvSpPr>
          <p:cNvPr id="22" name="Text Box 11"/>
          <p:cNvSpPr txBox="1">
            <a:spLocks noChangeArrowheads="1"/>
          </p:cNvSpPr>
          <p:nvPr/>
        </p:nvSpPr>
        <p:spPr bwMode="gray">
          <a:xfrm>
            <a:off x="7320538" y="5531962"/>
            <a:ext cx="610206" cy="314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83077" tIns="43200" rIns="83077" bIns="4320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buClr>
                <a:schemeClr val="accent1"/>
              </a:buClr>
            </a:pPr>
            <a:r>
              <a:rPr lang="de-DE" altLang="de-DE" sz="1477"/>
              <a:t>Hoch</a:t>
            </a:r>
          </a:p>
        </p:txBody>
      </p:sp>
      <p:sp>
        <p:nvSpPr>
          <p:cNvPr id="23" name="Text Box 12"/>
          <p:cNvSpPr txBox="1">
            <a:spLocks noChangeArrowheads="1"/>
          </p:cNvSpPr>
          <p:nvPr/>
        </p:nvSpPr>
        <p:spPr bwMode="gray">
          <a:xfrm>
            <a:off x="4339533" y="5545150"/>
            <a:ext cx="619824" cy="314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83077" tIns="43200" rIns="83077" bIns="4320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buClr>
                <a:schemeClr val="accent1"/>
              </a:buClr>
            </a:pPr>
            <a:r>
              <a:rPr lang="de-DE" altLang="de-DE" sz="1477"/>
              <a:t>Mittel</a:t>
            </a:r>
          </a:p>
        </p:txBody>
      </p:sp>
      <p:sp>
        <p:nvSpPr>
          <p:cNvPr id="24" name="Text Box 13"/>
          <p:cNvSpPr txBox="1">
            <a:spLocks noChangeArrowheads="1"/>
          </p:cNvSpPr>
          <p:nvPr/>
        </p:nvSpPr>
        <p:spPr bwMode="gray">
          <a:xfrm>
            <a:off x="1575923" y="5537824"/>
            <a:ext cx="736843" cy="314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83077" tIns="43200" rIns="83077" bIns="4320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buClr>
                <a:schemeClr val="accent1"/>
              </a:buClr>
            </a:pPr>
            <a:r>
              <a:rPr lang="de-DE" altLang="de-DE" sz="1477" dirty="0"/>
              <a:t>Gering</a:t>
            </a:r>
          </a:p>
        </p:txBody>
      </p:sp>
      <p:sp>
        <p:nvSpPr>
          <p:cNvPr id="25" name="Text Box 14"/>
          <p:cNvSpPr txBox="1">
            <a:spLocks noChangeArrowheads="1"/>
          </p:cNvSpPr>
          <p:nvPr/>
        </p:nvSpPr>
        <p:spPr bwMode="gray">
          <a:xfrm rot="16200000">
            <a:off x="584165" y="2255715"/>
            <a:ext cx="610206" cy="314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83077" tIns="43200" rIns="83077" bIns="4320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buClr>
                <a:schemeClr val="accent1"/>
              </a:buClr>
            </a:pPr>
            <a:r>
              <a:rPr lang="de-DE" altLang="de-DE" sz="1477"/>
              <a:t>Hoch</a:t>
            </a:r>
          </a:p>
        </p:txBody>
      </p:sp>
      <p:sp>
        <p:nvSpPr>
          <p:cNvPr id="26" name="Text Box 15"/>
          <p:cNvSpPr txBox="1">
            <a:spLocks noChangeArrowheads="1"/>
          </p:cNvSpPr>
          <p:nvPr/>
        </p:nvSpPr>
        <p:spPr bwMode="gray">
          <a:xfrm rot="16200000">
            <a:off x="579356" y="3483708"/>
            <a:ext cx="619824" cy="314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83077" tIns="43200" rIns="83077" bIns="4320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buClr>
                <a:schemeClr val="accent1"/>
              </a:buClr>
            </a:pPr>
            <a:r>
              <a:rPr lang="de-DE" altLang="de-DE" sz="1477" dirty="0"/>
              <a:t>Mittel</a:t>
            </a:r>
          </a:p>
        </p:txBody>
      </p:sp>
      <p:sp>
        <p:nvSpPr>
          <p:cNvPr id="27" name="Text Box 16"/>
          <p:cNvSpPr txBox="1">
            <a:spLocks noChangeArrowheads="1"/>
          </p:cNvSpPr>
          <p:nvPr/>
        </p:nvSpPr>
        <p:spPr bwMode="gray">
          <a:xfrm rot="16200000">
            <a:off x="520846" y="4679462"/>
            <a:ext cx="736843" cy="314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83077" tIns="43200" rIns="83077" bIns="4320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buClr>
                <a:schemeClr val="accent1"/>
              </a:buClr>
            </a:pPr>
            <a:r>
              <a:rPr lang="de-DE" altLang="de-DE" sz="1477"/>
              <a:t>Gering</a:t>
            </a:r>
          </a:p>
        </p:txBody>
      </p:sp>
      <p:graphicFrame>
        <p:nvGraphicFramePr>
          <p:cNvPr id="28" name="Group 10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90265980"/>
              </p:ext>
            </p:extLst>
          </p:nvPr>
        </p:nvGraphicFramePr>
        <p:xfrm>
          <a:off x="1088561" y="4326782"/>
          <a:ext cx="2400300" cy="1201615"/>
        </p:xfrm>
        <a:graphic>
          <a:graphicData uri="http://schemas.openxmlformats.org/drawingml/2006/table">
            <a:tbl>
              <a:tblPr/>
              <a:tblGrid>
                <a:gridCol w="27402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12627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1201615">
                <a:tc>
                  <a:txBody>
                    <a:bodyPr/>
                    <a:lstStyle/>
                    <a:p>
                      <a:pPr marL="0" marR="0" lvl="0" indent="0" algn="l" defTabSz="801688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de-DE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1</a:t>
                      </a:r>
                    </a:p>
                  </a:txBody>
                  <a:tcPr marL="83077" marR="83077" marT="43200" marB="43200" anchor="ctr" horzOverflow="overflow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377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1688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de-DE" sz="105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83077" marR="83077" marT="43200" marB="43200" horzOverflow="overflow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29" name="Group 1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33306126"/>
              </p:ext>
            </p:extLst>
          </p:nvPr>
        </p:nvGraphicFramePr>
        <p:xfrm>
          <a:off x="3614884" y="4328248"/>
          <a:ext cx="2400300" cy="1201615"/>
        </p:xfrm>
        <a:graphic>
          <a:graphicData uri="http://schemas.openxmlformats.org/drawingml/2006/table">
            <a:tbl>
              <a:tblPr/>
              <a:tblGrid>
                <a:gridCol w="27402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12627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1201615">
                <a:tc>
                  <a:txBody>
                    <a:bodyPr/>
                    <a:lstStyle/>
                    <a:p>
                      <a:pPr marL="0" marR="0" lvl="0" indent="0" algn="l" defTabSz="801688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de-DE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2</a:t>
                      </a:r>
                    </a:p>
                  </a:txBody>
                  <a:tcPr marL="83077" marR="83077" marT="43200" marB="43200" anchor="ctr" horzOverflow="overflow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377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1688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de-DE" sz="7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83077" marR="83077" marT="43200" marB="43200" horzOverflow="overflow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30" name="Group 11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91128693"/>
              </p:ext>
            </p:extLst>
          </p:nvPr>
        </p:nvGraphicFramePr>
        <p:xfrm>
          <a:off x="6142672" y="4329713"/>
          <a:ext cx="2400300" cy="1201615"/>
        </p:xfrm>
        <a:graphic>
          <a:graphicData uri="http://schemas.openxmlformats.org/drawingml/2006/table">
            <a:tbl>
              <a:tblPr/>
              <a:tblGrid>
                <a:gridCol w="27402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12627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1201615">
                <a:tc>
                  <a:txBody>
                    <a:bodyPr/>
                    <a:lstStyle/>
                    <a:p>
                      <a:pPr marL="0" marR="0" lvl="0" indent="0" algn="l" defTabSz="801688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de-DE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3</a:t>
                      </a:r>
                    </a:p>
                  </a:txBody>
                  <a:tcPr marL="83077" marR="83077" marT="43200" marB="43200" anchor="ctr" horzOverflow="overflow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377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1688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de-DE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Keine Kommunikation der Projektteilnehmer,</a:t>
                      </a:r>
                    </a:p>
                    <a:p>
                      <a:pPr marL="0" marR="0" lvl="0" indent="0" algn="ctr" defTabSz="801688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de-DE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Unzuverlässigkeit der Projektteilnehmer,</a:t>
                      </a:r>
                    </a:p>
                    <a:p>
                      <a:pPr marL="0" marR="0" lvl="0" indent="0" algn="ctr" defTabSz="801688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de-DE" sz="7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83077" marR="83077" marT="43200" marB="43200" horzOverflow="overflow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31" name="Group 10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54055321"/>
              </p:ext>
            </p:extLst>
          </p:nvPr>
        </p:nvGraphicFramePr>
        <p:xfrm>
          <a:off x="1090026" y="3051898"/>
          <a:ext cx="2400300" cy="1201615"/>
        </p:xfrm>
        <a:graphic>
          <a:graphicData uri="http://schemas.openxmlformats.org/drawingml/2006/table">
            <a:tbl>
              <a:tblPr/>
              <a:tblGrid>
                <a:gridCol w="27402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12627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1201615">
                <a:tc>
                  <a:txBody>
                    <a:bodyPr/>
                    <a:lstStyle/>
                    <a:p>
                      <a:pPr marL="0" marR="0" lvl="0" indent="0" algn="l" defTabSz="801688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de-DE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4</a:t>
                      </a:r>
                    </a:p>
                  </a:txBody>
                  <a:tcPr marL="83077" marR="83077" marT="43200" marB="43200" anchor="ctr" horzOverflow="overflow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377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1688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de-DE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Mangelhafte Auswahlkriterien/ Benutzerfreundlichkeit/ Dokumentation</a:t>
                      </a:r>
                    </a:p>
                  </a:txBody>
                  <a:tcPr marL="83077" marR="83077" marT="43200" marB="43200" horzOverflow="overflow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32" name="Group 10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10395249"/>
              </p:ext>
            </p:extLst>
          </p:nvPr>
        </p:nvGraphicFramePr>
        <p:xfrm>
          <a:off x="3616349" y="3053363"/>
          <a:ext cx="2400300" cy="1201615"/>
        </p:xfrm>
        <a:graphic>
          <a:graphicData uri="http://schemas.openxmlformats.org/drawingml/2006/table">
            <a:tbl>
              <a:tblPr/>
              <a:tblGrid>
                <a:gridCol w="27402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12627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1201615">
                <a:tc>
                  <a:txBody>
                    <a:bodyPr/>
                    <a:lstStyle/>
                    <a:p>
                      <a:pPr marL="0" marR="0" lvl="0" indent="0" algn="l" defTabSz="801688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de-DE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5</a:t>
                      </a:r>
                    </a:p>
                  </a:txBody>
                  <a:tcPr marL="83077" marR="83077" marT="43200" marB="43200" anchor="ctr" horzOverflow="overflow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377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1688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de-DE" sz="7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83077" marR="83077" marT="43200" marB="43200" horzOverflow="overflow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33" name="Group 11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57738442"/>
              </p:ext>
            </p:extLst>
          </p:nvPr>
        </p:nvGraphicFramePr>
        <p:xfrm>
          <a:off x="6144138" y="3054828"/>
          <a:ext cx="2400300" cy="1201615"/>
        </p:xfrm>
        <a:graphic>
          <a:graphicData uri="http://schemas.openxmlformats.org/drawingml/2006/table">
            <a:tbl>
              <a:tblPr/>
              <a:tblGrid>
                <a:gridCol w="27402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12627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1201615">
                <a:tc>
                  <a:txBody>
                    <a:bodyPr/>
                    <a:lstStyle/>
                    <a:p>
                      <a:pPr marL="0" marR="0" lvl="0" indent="0" algn="l" defTabSz="801688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de-DE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6</a:t>
                      </a:r>
                    </a:p>
                  </a:txBody>
                  <a:tcPr marL="83077" marR="83077" marT="43200" marB="43200" anchor="ctr" horzOverflow="overflow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377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1688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de-DE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Überschreitung der Abgabefrist</a:t>
                      </a:r>
                      <a:endParaRPr kumimoji="0" lang="de-DE" sz="105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83077" marR="83077" marT="43200" marB="43200" horzOverflow="overflow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34" name="Group 10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46969026"/>
              </p:ext>
            </p:extLst>
          </p:nvPr>
        </p:nvGraphicFramePr>
        <p:xfrm>
          <a:off x="1079768" y="1766756"/>
          <a:ext cx="2400300" cy="1201615"/>
        </p:xfrm>
        <a:graphic>
          <a:graphicData uri="http://schemas.openxmlformats.org/drawingml/2006/table">
            <a:tbl>
              <a:tblPr/>
              <a:tblGrid>
                <a:gridCol w="27402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12627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1201615">
                <a:tc>
                  <a:txBody>
                    <a:bodyPr/>
                    <a:lstStyle/>
                    <a:p>
                      <a:pPr marL="0" marR="0" lvl="0" indent="0" algn="l" defTabSz="801688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de-DE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7</a:t>
                      </a:r>
                    </a:p>
                  </a:txBody>
                  <a:tcPr marL="83077" marR="83077" marT="43200" marB="43200" anchor="ctr" horzOverflow="overflow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377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1688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de-DE" sz="7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83077" marR="83077" marT="43200" marB="43200" horzOverflow="overflow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35" name="Group 10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26685832"/>
              </p:ext>
            </p:extLst>
          </p:nvPr>
        </p:nvGraphicFramePr>
        <p:xfrm>
          <a:off x="3607556" y="1768221"/>
          <a:ext cx="2400300" cy="1201615"/>
        </p:xfrm>
        <a:graphic>
          <a:graphicData uri="http://schemas.openxmlformats.org/drawingml/2006/table">
            <a:tbl>
              <a:tblPr/>
              <a:tblGrid>
                <a:gridCol w="27402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12627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1201615">
                <a:tc>
                  <a:txBody>
                    <a:bodyPr/>
                    <a:lstStyle/>
                    <a:p>
                      <a:pPr marL="0" marR="0" lvl="0" indent="0" algn="l" defTabSz="801688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de-DE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8</a:t>
                      </a:r>
                    </a:p>
                  </a:txBody>
                  <a:tcPr marL="83077" marR="83077" marT="43200" marB="43200" anchor="ctr" horzOverflow="overflow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377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1688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de-DE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Zeitliche Überlastung der Projektteilnehmer</a:t>
                      </a:r>
                      <a:endParaRPr kumimoji="0" lang="de-DE" sz="105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83077" marR="83077" marT="43200" marB="43200" horzOverflow="overflow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36" name="Group 1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82628499"/>
              </p:ext>
            </p:extLst>
          </p:nvPr>
        </p:nvGraphicFramePr>
        <p:xfrm>
          <a:off x="6133879" y="1759428"/>
          <a:ext cx="2400300" cy="1201615"/>
        </p:xfrm>
        <a:graphic>
          <a:graphicData uri="http://schemas.openxmlformats.org/drawingml/2006/table">
            <a:tbl>
              <a:tblPr/>
              <a:tblGrid>
                <a:gridCol w="27402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12627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1201615">
                <a:tc>
                  <a:txBody>
                    <a:bodyPr/>
                    <a:lstStyle/>
                    <a:p>
                      <a:pPr marL="0" marR="0" lvl="0" indent="0" algn="l" defTabSz="801688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de-DE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9</a:t>
                      </a:r>
                    </a:p>
                  </a:txBody>
                  <a:tcPr marL="83077" marR="83077" marT="43200" marB="43200" anchor="ctr" horzOverflow="overflow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377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1688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de-DE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Mangel an Validen Daten,</a:t>
                      </a:r>
                    </a:p>
                    <a:p>
                      <a:pPr marL="0" marR="0" lvl="0" indent="0" algn="ctr" defTabSz="801688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de-DE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Fehler bei der Umsetzung der Software</a:t>
                      </a:r>
                    </a:p>
                  </a:txBody>
                  <a:tcPr marL="83077" marR="83077" marT="43200" marB="43200" horzOverflow="overflow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35877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5">
            <a:extLst>
              <a:ext uri="{FF2B5EF4-FFF2-40B4-BE49-F238E27FC236}">
                <a16:creationId xmlns:a16="http://schemas.microsoft.com/office/drawing/2014/main" id="{338621B7-CE6A-4E38-A4FC-0F8D896BCDD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73087" y="1100064"/>
            <a:ext cx="8074025" cy="633486"/>
          </a:xfrm>
        </p:spPr>
        <p:txBody>
          <a:bodyPr/>
          <a:lstStyle/>
          <a:p>
            <a:r>
              <a:rPr lang="de-DE" dirty="0"/>
              <a:t>Maßnahmen zu Risiken</a:t>
            </a:r>
          </a:p>
        </p:txBody>
      </p:sp>
      <p:sp>
        <p:nvSpPr>
          <p:cNvPr id="11" name="Inhaltsplatzhalter 2">
            <a:extLst>
              <a:ext uri="{FF2B5EF4-FFF2-40B4-BE49-F238E27FC236}">
                <a16:creationId xmlns:a16="http://schemas.microsoft.com/office/drawing/2014/main" id="{0A9D4812-C3AB-4CA8-9030-61C9F0D731C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3086" y="1664542"/>
            <a:ext cx="7951481" cy="1810800"/>
          </a:xfrm>
          <a:ln>
            <a:solidFill>
              <a:schemeClr val="tx1"/>
            </a:solidFill>
          </a:ln>
        </p:spPr>
        <p:txBody>
          <a:bodyPr/>
          <a:lstStyle/>
          <a:p>
            <a:r>
              <a:rPr lang="de-DE" sz="1100" dirty="0"/>
              <a:t>Kommunikation stärken</a:t>
            </a:r>
          </a:p>
          <a:p>
            <a:r>
              <a:rPr lang="de-DE" sz="1100" dirty="0"/>
              <a:t>Zuverlässigkeit steigern</a:t>
            </a:r>
          </a:p>
          <a:p>
            <a:r>
              <a:rPr lang="de-DE" sz="1100" dirty="0"/>
              <a:t>Faire aufgaben Verteilung und Teamwork</a:t>
            </a:r>
          </a:p>
          <a:p>
            <a:r>
              <a:rPr lang="de-DE" sz="1100" dirty="0"/>
              <a:t>Valide daten bereitstellen</a:t>
            </a:r>
          </a:p>
          <a:p>
            <a:r>
              <a:rPr lang="de-DE" sz="1100" dirty="0"/>
              <a:t>Debugging</a:t>
            </a:r>
          </a:p>
          <a:p>
            <a:r>
              <a:rPr lang="de-DE" sz="1100" dirty="0"/>
              <a:t>Zeitmanagement</a:t>
            </a:r>
          </a:p>
        </p:txBody>
      </p:sp>
      <p:sp>
        <p:nvSpPr>
          <p:cNvPr id="9" name="Rectangle 2"/>
          <p:cNvSpPr>
            <a:spLocks noGrp="1" noChangeArrowheads="1"/>
          </p:cNvSpPr>
          <p:nvPr>
            <p:ph type="title"/>
          </p:nvPr>
        </p:nvSpPr>
        <p:spPr>
          <a:xfrm>
            <a:off x="573088" y="181219"/>
            <a:ext cx="8074025" cy="384721"/>
          </a:xfrm>
        </p:spPr>
        <p:txBody>
          <a:bodyPr/>
          <a:lstStyle/>
          <a:p>
            <a:r>
              <a:rPr lang="de-DE" sz="2500" kern="1200" dirty="0"/>
              <a:t>Klassifizierung am Beispiel Elektrofahrzeug</a:t>
            </a:r>
            <a:endParaRPr lang="de-DE" dirty="0"/>
          </a:p>
        </p:txBody>
      </p:sp>
      <p:sp>
        <p:nvSpPr>
          <p:cNvPr id="12" name="Text Box 4"/>
          <p:cNvSpPr txBox="1">
            <a:spLocks noChangeArrowheads="1"/>
          </p:cNvSpPr>
          <p:nvPr/>
        </p:nvSpPr>
        <p:spPr bwMode="auto">
          <a:xfrm>
            <a:off x="573088" y="573088"/>
            <a:ext cx="8074025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accent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algn="l"/>
            <a:r>
              <a:rPr lang="de-DE" sz="1800" dirty="0">
                <a:solidFill>
                  <a:schemeClr val="bg1"/>
                </a:solidFill>
              </a:rPr>
              <a:t>Projektreview</a:t>
            </a:r>
          </a:p>
        </p:txBody>
      </p:sp>
      <p:sp>
        <p:nvSpPr>
          <p:cNvPr id="7" name="Textplatzhalter 5">
            <a:extLst>
              <a:ext uri="{FF2B5EF4-FFF2-40B4-BE49-F238E27FC236}">
                <a16:creationId xmlns:a16="http://schemas.microsoft.com/office/drawing/2014/main" id="{338621B7-CE6A-4E38-A4FC-0F8D896BCDD6}"/>
              </a:ext>
            </a:extLst>
          </p:cNvPr>
          <p:cNvSpPr txBox="1">
            <a:spLocks/>
          </p:cNvSpPr>
          <p:nvPr/>
        </p:nvSpPr>
        <p:spPr bwMode="auto">
          <a:xfrm>
            <a:off x="573087" y="3631720"/>
            <a:ext cx="8074025" cy="613775"/>
          </a:xfrm>
          <a:prstGeom prst="rect">
            <a:avLst/>
          </a:prstGeom>
          <a:noFill/>
          <a:ln>
            <a:noFill/>
          </a:ln>
          <a:effectLst/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None/>
              <a:defRPr sz="1800" b="1">
                <a:solidFill>
                  <a:schemeClr val="accent6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79413" indent="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None/>
              <a:defRPr sz="1600">
                <a:solidFill>
                  <a:schemeClr val="tx1"/>
                </a:solidFill>
                <a:latin typeface="+mn-lt"/>
                <a:ea typeface="+mn-ea"/>
              </a:defRPr>
            </a:lvl2pPr>
            <a:lvl3pPr marL="855663" indent="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None/>
              <a:defRPr sz="1600">
                <a:solidFill>
                  <a:schemeClr val="tx1"/>
                </a:solidFill>
                <a:latin typeface="+mn-lt"/>
                <a:ea typeface="+mn-ea"/>
              </a:defRPr>
            </a:lvl3pPr>
            <a:lvl4pPr marL="1274763" indent="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None/>
              <a:defRPr sz="1600">
                <a:solidFill>
                  <a:schemeClr val="tx1"/>
                </a:solidFill>
                <a:latin typeface="+mn-lt"/>
                <a:ea typeface="+mn-ea"/>
              </a:defRPr>
            </a:lvl4pPr>
            <a:lvl5pPr marL="1693863" indent="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None/>
              <a:defRPr sz="1600">
                <a:solidFill>
                  <a:schemeClr val="tx1"/>
                </a:solidFill>
                <a:latin typeface="+mn-lt"/>
                <a:ea typeface="+mn-ea"/>
              </a:defRPr>
            </a:lvl5pPr>
            <a:lvl6pPr marL="23796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6pPr>
            <a:lvl7pPr marL="28368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7pPr>
            <a:lvl8pPr marL="32940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8pPr>
            <a:lvl9pPr marL="37512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r>
              <a:rPr lang="de-DE" kern="0" dirty="0"/>
              <a:t>Handlungsbedarfe</a:t>
            </a:r>
          </a:p>
        </p:txBody>
      </p:sp>
      <p:sp>
        <p:nvSpPr>
          <p:cNvPr id="13" name="Inhaltsplatzhalter 2">
            <a:extLst>
              <a:ext uri="{FF2B5EF4-FFF2-40B4-BE49-F238E27FC236}">
                <a16:creationId xmlns:a16="http://schemas.microsoft.com/office/drawing/2014/main" id="{0A9D4812-C3AB-4CA8-9030-61C9F0D731C4}"/>
              </a:ext>
            </a:extLst>
          </p:cNvPr>
          <p:cNvSpPr txBox="1">
            <a:spLocks/>
          </p:cNvSpPr>
          <p:nvPr/>
        </p:nvSpPr>
        <p:spPr bwMode="auto">
          <a:xfrm>
            <a:off x="569706" y="4176488"/>
            <a:ext cx="7951481" cy="1810247"/>
          </a:xfrm>
          <a:prstGeom prst="rect">
            <a:avLst/>
          </a:prstGeom>
          <a:noFill/>
          <a:ln>
            <a:solidFill>
              <a:schemeClr val="tx1"/>
            </a:solidFill>
          </a:ln>
          <a:effectLst/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88913" indent="-188913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65163" indent="-28575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2000">
                <a:solidFill>
                  <a:schemeClr val="tx1"/>
                </a:solidFill>
                <a:latin typeface="+mn-lt"/>
                <a:ea typeface="+mn-ea"/>
              </a:defRPr>
            </a:lvl2pPr>
            <a:lvl3pPr marL="10842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2000">
                <a:solidFill>
                  <a:schemeClr val="tx1"/>
                </a:solidFill>
                <a:latin typeface="+mn-lt"/>
                <a:ea typeface="+mn-ea"/>
              </a:defRPr>
            </a:lvl3pPr>
            <a:lvl4pPr marL="15033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2000">
                <a:solidFill>
                  <a:schemeClr val="tx1"/>
                </a:solidFill>
                <a:latin typeface="+mn-lt"/>
                <a:ea typeface="+mn-ea"/>
              </a:defRPr>
            </a:lvl4pPr>
            <a:lvl5pPr marL="19224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2000">
                <a:solidFill>
                  <a:schemeClr val="tx1"/>
                </a:solidFill>
                <a:latin typeface="+mn-lt"/>
                <a:ea typeface="+mn-ea"/>
              </a:defRPr>
            </a:lvl5pPr>
            <a:lvl6pPr marL="23796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6pPr>
            <a:lvl7pPr marL="28368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7pPr>
            <a:lvl8pPr marL="32940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8pPr>
            <a:lvl9pPr marL="37512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>
              <a:lnSpc>
                <a:spcPct val="150000"/>
              </a:lnSpc>
            </a:pPr>
            <a:r>
              <a:rPr lang="de-DE" sz="1000" kern="0" dirty="0"/>
              <a:t>Regelmäßige Meetings und Kommunikation über Messenger</a:t>
            </a:r>
          </a:p>
          <a:p>
            <a:pPr>
              <a:lnSpc>
                <a:spcPct val="150000"/>
              </a:lnSpc>
            </a:pPr>
            <a:r>
              <a:rPr lang="de-DE" sz="1000" kern="0" dirty="0"/>
              <a:t>Disziplinarmaßnahmen</a:t>
            </a:r>
          </a:p>
          <a:p>
            <a:pPr>
              <a:lnSpc>
                <a:spcPct val="150000"/>
              </a:lnSpc>
            </a:pPr>
            <a:r>
              <a:rPr lang="de-DE" sz="1000" kern="0" dirty="0"/>
              <a:t>Hilfsbereitschaft zeigen</a:t>
            </a:r>
          </a:p>
          <a:p>
            <a:pPr>
              <a:lnSpc>
                <a:spcPct val="150000"/>
              </a:lnSpc>
            </a:pPr>
            <a:r>
              <a:rPr lang="de-DE" sz="1000" dirty="0"/>
              <a:t>Daten Recherche durchführen</a:t>
            </a:r>
          </a:p>
          <a:p>
            <a:pPr>
              <a:lnSpc>
                <a:spcPct val="150000"/>
              </a:lnSpc>
            </a:pPr>
            <a:r>
              <a:rPr lang="de-DE" sz="1000" dirty="0"/>
              <a:t>Modulares testen</a:t>
            </a:r>
          </a:p>
          <a:p>
            <a:pPr>
              <a:lnSpc>
                <a:spcPct val="150000"/>
              </a:lnSpc>
            </a:pPr>
            <a:r>
              <a:rPr lang="de-DE" sz="1000" dirty="0"/>
              <a:t>Gantt Diagramm erstellen</a:t>
            </a:r>
          </a:p>
          <a:p>
            <a:pPr>
              <a:lnSpc>
                <a:spcPct val="150000"/>
              </a:lnSpc>
            </a:pPr>
            <a:endParaRPr lang="de-DE" kern="0" dirty="0"/>
          </a:p>
          <a:p>
            <a:endParaRPr lang="de-DE" sz="1800" kern="0" dirty="0"/>
          </a:p>
        </p:txBody>
      </p:sp>
    </p:spTree>
    <p:extLst>
      <p:ext uri="{BB962C8B-B14F-4D97-AF65-F5344CB8AC3E}">
        <p14:creationId xmlns:p14="http://schemas.microsoft.com/office/powerpoint/2010/main" val="29679744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5">
            <a:extLst>
              <a:ext uri="{FF2B5EF4-FFF2-40B4-BE49-F238E27FC236}">
                <a16:creationId xmlns:a16="http://schemas.microsoft.com/office/drawing/2014/main" id="{338621B7-CE6A-4E38-A4FC-0F8D896BCDD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73087" y="1100064"/>
            <a:ext cx="8074025" cy="633486"/>
          </a:xfrm>
        </p:spPr>
        <p:txBody>
          <a:bodyPr/>
          <a:lstStyle/>
          <a:p>
            <a:r>
              <a:rPr lang="de-DE" dirty="0"/>
              <a:t>Letzte 2 Wochen</a:t>
            </a:r>
          </a:p>
        </p:txBody>
      </p:sp>
      <p:sp>
        <p:nvSpPr>
          <p:cNvPr id="11" name="Inhaltsplatzhalter 2">
            <a:extLst>
              <a:ext uri="{FF2B5EF4-FFF2-40B4-BE49-F238E27FC236}">
                <a16:creationId xmlns:a16="http://schemas.microsoft.com/office/drawing/2014/main" id="{0A9D4812-C3AB-4CA8-9030-61C9F0D731C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3086" y="1664542"/>
            <a:ext cx="7951481" cy="1810800"/>
          </a:xfrm>
          <a:ln>
            <a:solidFill>
              <a:schemeClr val="tx1"/>
            </a:solidFill>
          </a:ln>
        </p:spPr>
        <p:txBody>
          <a:bodyPr/>
          <a:lstStyle/>
          <a:p>
            <a:r>
              <a:rPr lang="de-DE" sz="1800" kern="0" dirty="0"/>
              <a:t>Das Projektteam hat sich das </a:t>
            </a:r>
            <a:r>
              <a:rPr lang="de-DE" sz="1800" kern="0"/>
              <a:t>nötige Wissen </a:t>
            </a:r>
            <a:r>
              <a:rPr lang="de-DE" sz="1800" kern="0" dirty="0"/>
              <a:t>erarbeitet und den grundlegenden Entwurf für den Algorithmus und die GUI gestaltet</a:t>
            </a:r>
          </a:p>
          <a:p>
            <a:endParaRPr lang="de-DE" sz="1800" kern="0" dirty="0"/>
          </a:p>
          <a:p>
            <a:endParaRPr lang="de-DE" sz="1800" dirty="0"/>
          </a:p>
        </p:txBody>
      </p:sp>
      <p:sp>
        <p:nvSpPr>
          <p:cNvPr id="9" name="Rectangle 2"/>
          <p:cNvSpPr>
            <a:spLocks noGrp="1" noChangeArrowheads="1"/>
          </p:cNvSpPr>
          <p:nvPr>
            <p:ph type="title"/>
          </p:nvPr>
        </p:nvSpPr>
        <p:spPr>
          <a:xfrm>
            <a:off x="573088" y="181219"/>
            <a:ext cx="8074025" cy="384721"/>
          </a:xfrm>
        </p:spPr>
        <p:txBody>
          <a:bodyPr/>
          <a:lstStyle/>
          <a:p>
            <a:r>
              <a:rPr lang="de-DE" sz="2500" kern="1200" dirty="0"/>
              <a:t>Klassifizierung am Beispiel Elektrofahrzeug</a:t>
            </a:r>
            <a:endParaRPr lang="de-DE" dirty="0"/>
          </a:p>
        </p:txBody>
      </p:sp>
      <p:sp>
        <p:nvSpPr>
          <p:cNvPr id="12" name="Text Box 4"/>
          <p:cNvSpPr txBox="1">
            <a:spLocks noChangeArrowheads="1"/>
          </p:cNvSpPr>
          <p:nvPr/>
        </p:nvSpPr>
        <p:spPr bwMode="auto">
          <a:xfrm>
            <a:off x="573088" y="573088"/>
            <a:ext cx="8074025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accent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algn="l"/>
            <a:r>
              <a:rPr lang="de-DE" sz="1800" dirty="0">
                <a:solidFill>
                  <a:schemeClr val="bg1"/>
                </a:solidFill>
              </a:rPr>
              <a:t>Projektaktivitäten</a:t>
            </a:r>
          </a:p>
        </p:txBody>
      </p:sp>
      <p:sp>
        <p:nvSpPr>
          <p:cNvPr id="7" name="Textplatzhalter 5">
            <a:extLst>
              <a:ext uri="{FF2B5EF4-FFF2-40B4-BE49-F238E27FC236}">
                <a16:creationId xmlns:a16="http://schemas.microsoft.com/office/drawing/2014/main" id="{338621B7-CE6A-4E38-A4FC-0F8D896BCDD6}"/>
              </a:ext>
            </a:extLst>
          </p:cNvPr>
          <p:cNvSpPr txBox="1">
            <a:spLocks/>
          </p:cNvSpPr>
          <p:nvPr/>
        </p:nvSpPr>
        <p:spPr bwMode="auto">
          <a:xfrm>
            <a:off x="573087" y="3631720"/>
            <a:ext cx="8074025" cy="613775"/>
          </a:xfrm>
          <a:prstGeom prst="rect">
            <a:avLst/>
          </a:prstGeom>
          <a:noFill/>
          <a:ln>
            <a:noFill/>
          </a:ln>
          <a:effectLst/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None/>
              <a:defRPr sz="1800" b="1">
                <a:solidFill>
                  <a:schemeClr val="accent6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79413" indent="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None/>
              <a:defRPr sz="1600">
                <a:solidFill>
                  <a:schemeClr val="tx1"/>
                </a:solidFill>
                <a:latin typeface="+mn-lt"/>
                <a:ea typeface="+mn-ea"/>
              </a:defRPr>
            </a:lvl2pPr>
            <a:lvl3pPr marL="855663" indent="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None/>
              <a:defRPr sz="1600">
                <a:solidFill>
                  <a:schemeClr val="tx1"/>
                </a:solidFill>
                <a:latin typeface="+mn-lt"/>
                <a:ea typeface="+mn-ea"/>
              </a:defRPr>
            </a:lvl3pPr>
            <a:lvl4pPr marL="1274763" indent="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None/>
              <a:defRPr sz="1600">
                <a:solidFill>
                  <a:schemeClr val="tx1"/>
                </a:solidFill>
                <a:latin typeface="+mn-lt"/>
                <a:ea typeface="+mn-ea"/>
              </a:defRPr>
            </a:lvl4pPr>
            <a:lvl5pPr marL="1693863" indent="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None/>
              <a:defRPr sz="1600">
                <a:solidFill>
                  <a:schemeClr val="tx1"/>
                </a:solidFill>
                <a:latin typeface="+mn-lt"/>
                <a:ea typeface="+mn-ea"/>
              </a:defRPr>
            </a:lvl5pPr>
            <a:lvl6pPr marL="23796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6pPr>
            <a:lvl7pPr marL="28368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7pPr>
            <a:lvl8pPr marL="32940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8pPr>
            <a:lvl9pPr marL="37512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r>
              <a:rPr lang="de-DE" kern="0" dirty="0"/>
              <a:t>Nächste 2 Wochen</a:t>
            </a:r>
          </a:p>
        </p:txBody>
      </p:sp>
      <p:sp>
        <p:nvSpPr>
          <p:cNvPr id="13" name="Inhaltsplatzhalter 2">
            <a:extLst>
              <a:ext uri="{FF2B5EF4-FFF2-40B4-BE49-F238E27FC236}">
                <a16:creationId xmlns:a16="http://schemas.microsoft.com/office/drawing/2014/main" id="{0A9D4812-C3AB-4CA8-9030-61C9F0D731C4}"/>
              </a:ext>
            </a:extLst>
          </p:cNvPr>
          <p:cNvSpPr txBox="1">
            <a:spLocks/>
          </p:cNvSpPr>
          <p:nvPr/>
        </p:nvSpPr>
        <p:spPr bwMode="auto">
          <a:xfrm>
            <a:off x="569706" y="4176488"/>
            <a:ext cx="7951481" cy="1810247"/>
          </a:xfrm>
          <a:prstGeom prst="rect">
            <a:avLst/>
          </a:prstGeom>
          <a:noFill/>
          <a:ln>
            <a:solidFill>
              <a:schemeClr val="tx1"/>
            </a:solidFill>
          </a:ln>
          <a:effectLst/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88913" indent="-188913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65163" indent="-28575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2000">
                <a:solidFill>
                  <a:schemeClr val="tx1"/>
                </a:solidFill>
                <a:latin typeface="+mn-lt"/>
                <a:ea typeface="+mn-ea"/>
              </a:defRPr>
            </a:lvl2pPr>
            <a:lvl3pPr marL="10842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2000">
                <a:solidFill>
                  <a:schemeClr val="tx1"/>
                </a:solidFill>
                <a:latin typeface="+mn-lt"/>
                <a:ea typeface="+mn-ea"/>
              </a:defRPr>
            </a:lvl3pPr>
            <a:lvl4pPr marL="15033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2000">
                <a:solidFill>
                  <a:schemeClr val="tx1"/>
                </a:solidFill>
                <a:latin typeface="+mn-lt"/>
                <a:ea typeface="+mn-ea"/>
              </a:defRPr>
            </a:lvl4pPr>
            <a:lvl5pPr marL="19224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2000">
                <a:solidFill>
                  <a:schemeClr val="tx1"/>
                </a:solidFill>
                <a:latin typeface="+mn-lt"/>
                <a:ea typeface="+mn-ea"/>
              </a:defRPr>
            </a:lvl5pPr>
            <a:lvl6pPr marL="23796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6pPr>
            <a:lvl7pPr marL="28368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7pPr>
            <a:lvl8pPr marL="32940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8pPr>
            <a:lvl9pPr marL="37512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r>
              <a:rPr lang="de-DE" sz="1800" kern="0" dirty="0"/>
              <a:t>Projektteam erstellt die GUI und den Algorithmus </a:t>
            </a:r>
          </a:p>
          <a:p>
            <a:r>
              <a:rPr lang="de-DE" sz="1800" kern="0" dirty="0"/>
              <a:t>Außerdem wird die Präsentation erstellt und die Projekt Dokumentation abgeschlossen</a:t>
            </a:r>
          </a:p>
        </p:txBody>
      </p:sp>
    </p:spTree>
    <p:extLst>
      <p:ext uri="{BB962C8B-B14F-4D97-AF65-F5344CB8AC3E}">
        <p14:creationId xmlns:p14="http://schemas.microsoft.com/office/powerpoint/2010/main" val="30509479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5">
            <a:extLst>
              <a:ext uri="{FF2B5EF4-FFF2-40B4-BE49-F238E27FC236}">
                <a16:creationId xmlns:a16="http://schemas.microsoft.com/office/drawing/2014/main" id="{338621B7-CE6A-4E38-A4FC-0F8D896BCDD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73087" y="1100064"/>
            <a:ext cx="8074025" cy="633486"/>
          </a:xfrm>
        </p:spPr>
        <p:txBody>
          <a:bodyPr/>
          <a:lstStyle/>
          <a:p>
            <a:r>
              <a:rPr lang="de-DE" dirty="0"/>
              <a:t>Entscheidungsbedarf</a:t>
            </a:r>
          </a:p>
        </p:txBody>
      </p:sp>
      <p:sp>
        <p:nvSpPr>
          <p:cNvPr id="11" name="Inhaltsplatzhalter 2">
            <a:extLst>
              <a:ext uri="{FF2B5EF4-FFF2-40B4-BE49-F238E27FC236}">
                <a16:creationId xmlns:a16="http://schemas.microsoft.com/office/drawing/2014/main" id="{0A9D4812-C3AB-4CA8-9030-61C9F0D731C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3086" y="1664541"/>
            <a:ext cx="7951481" cy="4149665"/>
          </a:xfrm>
          <a:ln>
            <a:solidFill>
              <a:schemeClr val="tx1"/>
            </a:solidFill>
          </a:ln>
        </p:spPr>
        <p:txBody>
          <a:bodyPr/>
          <a:lstStyle/>
          <a:p>
            <a:pPr>
              <a:lnSpc>
                <a:spcPct val="150000"/>
              </a:lnSpc>
            </a:pPr>
            <a:r>
              <a:rPr lang="de-DE" sz="1800" dirty="0"/>
              <a:t>Organisation von weiteren Meeting zur Absprache</a:t>
            </a:r>
          </a:p>
          <a:p>
            <a:pPr>
              <a:lnSpc>
                <a:spcPct val="150000"/>
              </a:lnSpc>
            </a:pPr>
            <a:r>
              <a:rPr lang="de-DE" sz="1800" dirty="0"/>
              <a:t>Definieren von Schnittstellen von GUI und Algorithmus (Array)</a:t>
            </a:r>
          </a:p>
          <a:p>
            <a:pPr>
              <a:lnSpc>
                <a:spcPct val="150000"/>
              </a:lnSpc>
            </a:pPr>
            <a:r>
              <a:rPr lang="de-DE" sz="1800" dirty="0"/>
              <a:t>Definieren des einheitlichen GUI Designs</a:t>
            </a:r>
          </a:p>
          <a:p>
            <a:pPr>
              <a:lnSpc>
                <a:spcPct val="150000"/>
              </a:lnSpc>
            </a:pPr>
            <a:r>
              <a:rPr lang="de-DE" sz="1800" dirty="0"/>
              <a:t>Nachbereiten und ausdokumentieren des Algorithmus</a:t>
            </a:r>
          </a:p>
          <a:p>
            <a:pPr>
              <a:lnSpc>
                <a:spcPct val="150000"/>
              </a:lnSpc>
            </a:pPr>
            <a:r>
              <a:rPr lang="de-DE" sz="1800" dirty="0"/>
              <a:t>Termin für die Fertigstellung der Abschlusspräsentation</a:t>
            </a:r>
          </a:p>
          <a:p>
            <a:pPr>
              <a:lnSpc>
                <a:spcPct val="150000"/>
              </a:lnSpc>
            </a:pPr>
            <a:r>
              <a:rPr lang="de-DE" sz="1800" dirty="0"/>
              <a:t>Termin für die Finalen Änderung der Abschlussdokumentation</a:t>
            </a:r>
          </a:p>
          <a:p>
            <a:pPr>
              <a:lnSpc>
                <a:spcPct val="150000"/>
              </a:lnSpc>
            </a:pPr>
            <a:endParaRPr lang="de-DE" sz="1800" dirty="0"/>
          </a:p>
          <a:p>
            <a:pPr>
              <a:lnSpc>
                <a:spcPct val="150000"/>
              </a:lnSpc>
            </a:pPr>
            <a:endParaRPr lang="de-DE" sz="1800" dirty="0"/>
          </a:p>
        </p:txBody>
      </p:sp>
      <p:sp>
        <p:nvSpPr>
          <p:cNvPr id="9" name="Rectangle 2"/>
          <p:cNvSpPr>
            <a:spLocks noGrp="1" noChangeArrowheads="1"/>
          </p:cNvSpPr>
          <p:nvPr>
            <p:ph type="title"/>
          </p:nvPr>
        </p:nvSpPr>
        <p:spPr>
          <a:xfrm>
            <a:off x="573088" y="181219"/>
            <a:ext cx="8074025" cy="384721"/>
          </a:xfrm>
        </p:spPr>
        <p:txBody>
          <a:bodyPr/>
          <a:lstStyle/>
          <a:p>
            <a:r>
              <a:rPr lang="de-DE" sz="2500" kern="1200"/>
              <a:t>Klassifizierung am Beispiel Elektrofahrzeug</a:t>
            </a:r>
            <a:endParaRPr lang="de-DE" dirty="0"/>
          </a:p>
        </p:txBody>
      </p:sp>
      <p:sp>
        <p:nvSpPr>
          <p:cNvPr id="12" name="Text Box 4"/>
          <p:cNvSpPr txBox="1">
            <a:spLocks noChangeArrowheads="1"/>
          </p:cNvSpPr>
          <p:nvPr/>
        </p:nvSpPr>
        <p:spPr bwMode="auto">
          <a:xfrm>
            <a:off x="573088" y="573088"/>
            <a:ext cx="8074025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accent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algn="l"/>
            <a:r>
              <a:rPr lang="de-DE" sz="1800" dirty="0">
                <a:solidFill>
                  <a:schemeClr val="bg1"/>
                </a:solidFill>
              </a:rPr>
              <a:t>Projektreview</a:t>
            </a:r>
          </a:p>
        </p:txBody>
      </p:sp>
    </p:spTree>
    <p:extLst>
      <p:ext uri="{BB962C8B-B14F-4D97-AF65-F5344CB8AC3E}">
        <p14:creationId xmlns:p14="http://schemas.microsoft.com/office/powerpoint/2010/main" val="32718254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5">
            <a:extLst>
              <a:ext uri="{FF2B5EF4-FFF2-40B4-BE49-F238E27FC236}">
                <a16:creationId xmlns:a16="http://schemas.microsoft.com/office/drawing/2014/main" id="{338621B7-CE6A-4E38-A4FC-0F8D896BCDD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73087" y="1100064"/>
            <a:ext cx="8074025" cy="633486"/>
          </a:xfrm>
        </p:spPr>
        <p:txBody>
          <a:bodyPr/>
          <a:lstStyle/>
          <a:p>
            <a:r>
              <a:rPr lang="de-DE" dirty="0"/>
              <a:t>Ausgangssituation</a:t>
            </a:r>
          </a:p>
        </p:txBody>
      </p:sp>
      <p:sp>
        <p:nvSpPr>
          <p:cNvPr id="11" name="Inhaltsplatzhalter 2">
            <a:extLst>
              <a:ext uri="{FF2B5EF4-FFF2-40B4-BE49-F238E27FC236}">
                <a16:creationId xmlns:a16="http://schemas.microsoft.com/office/drawing/2014/main" id="{0A9D4812-C3AB-4CA8-9030-61C9F0D731C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3086" y="1664542"/>
            <a:ext cx="7951481" cy="1810800"/>
          </a:xfrm>
          <a:ln>
            <a:solidFill>
              <a:schemeClr val="tx1"/>
            </a:solidFill>
          </a:ln>
        </p:spPr>
        <p:txBody>
          <a:bodyPr/>
          <a:lstStyle/>
          <a:p>
            <a:pPr>
              <a:lnSpc>
                <a:spcPct val="150000"/>
              </a:lnSpc>
            </a:pPr>
            <a:r>
              <a:rPr lang="de-DE" dirty="0"/>
              <a:t>Es werden in den kommenden Jahren immer mehr Elektrofahrzeuge hergestellt und verkauft. Um zu erkennen in welchem Bundesland sich Marketingmaßnahmen lohnen würden, möchten wir einen Unterstützenden Algorithmus erstellen.</a:t>
            </a:r>
          </a:p>
          <a:p>
            <a:endParaRPr lang="de-DE" sz="1800" dirty="0"/>
          </a:p>
        </p:txBody>
      </p:sp>
      <p:sp>
        <p:nvSpPr>
          <p:cNvPr id="9" name="Rectangle 2"/>
          <p:cNvSpPr>
            <a:spLocks noGrp="1" noChangeArrowheads="1"/>
          </p:cNvSpPr>
          <p:nvPr>
            <p:ph type="title"/>
          </p:nvPr>
        </p:nvSpPr>
        <p:spPr>
          <a:xfrm>
            <a:off x="573088" y="181219"/>
            <a:ext cx="8074025" cy="384721"/>
          </a:xfrm>
        </p:spPr>
        <p:txBody>
          <a:bodyPr/>
          <a:lstStyle/>
          <a:p>
            <a:r>
              <a:rPr lang="de-DE" sz="2500" kern="1200" dirty="0"/>
              <a:t>Klassifizierung am Beispiel Elektrofahrzeug</a:t>
            </a:r>
            <a:endParaRPr lang="de-DE" dirty="0"/>
          </a:p>
        </p:txBody>
      </p:sp>
      <p:sp>
        <p:nvSpPr>
          <p:cNvPr id="12" name="Text Box 4"/>
          <p:cNvSpPr txBox="1">
            <a:spLocks noChangeArrowheads="1"/>
          </p:cNvSpPr>
          <p:nvPr/>
        </p:nvSpPr>
        <p:spPr bwMode="auto">
          <a:xfrm>
            <a:off x="573088" y="573088"/>
            <a:ext cx="8074025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accent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algn="l"/>
            <a:r>
              <a:rPr lang="de-DE" sz="1800" dirty="0">
                <a:solidFill>
                  <a:schemeClr val="bg1"/>
                </a:solidFill>
              </a:rPr>
              <a:t>Projektdefinition</a:t>
            </a:r>
          </a:p>
        </p:txBody>
      </p:sp>
      <p:sp>
        <p:nvSpPr>
          <p:cNvPr id="7" name="Textplatzhalter 5">
            <a:extLst>
              <a:ext uri="{FF2B5EF4-FFF2-40B4-BE49-F238E27FC236}">
                <a16:creationId xmlns:a16="http://schemas.microsoft.com/office/drawing/2014/main" id="{338621B7-CE6A-4E38-A4FC-0F8D896BCDD6}"/>
              </a:ext>
            </a:extLst>
          </p:cNvPr>
          <p:cNvSpPr txBox="1">
            <a:spLocks/>
          </p:cNvSpPr>
          <p:nvPr/>
        </p:nvSpPr>
        <p:spPr bwMode="auto">
          <a:xfrm>
            <a:off x="573087" y="3631720"/>
            <a:ext cx="8074025" cy="613775"/>
          </a:xfrm>
          <a:prstGeom prst="rect">
            <a:avLst/>
          </a:prstGeom>
          <a:noFill/>
          <a:ln>
            <a:noFill/>
          </a:ln>
          <a:effectLst/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None/>
              <a:defRPr sz="1800" b="1">
                <a:solidFill>
                  <a:schemeClr val="accent6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79413" indent="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None/>
              <a:defRPr sz="1600">
                <a:solidFill>
                  <a:schemeClr val="tx1"/>
                </a:solidFill>
                <a:latin typeface="+mn-lt"/>
                <a:ea typeface="+mn-ea"/>
              </a:defRPr>
            </a:lvl2pPr>
            <a:lvl3pPr marL="855663" indent="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None/>
              <a:defRPr sz="1600">
                <a:solidFill>
                  <a:schemeClr val="tx1"/>
                </a:solidFill>
                <a:latin typeface="+mn-lt"/>
                <a:ea typeface="+mn-ea"/>
              </a:defRPr>
            </a:lvl3pPr>
            <a:lvl4pPr marL="1274763" indent="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None/>
              <a:defRPr sz="1600">
                <a:solidFill>
                  <a:schemeClr val="tx1"/>
                </a:solidFill>
                <a:latin typeface="+mn-lt"/>
                <a:ea typeface="+mn-ea"/>
              </a:defRPr>
            </a:lvl4pPr>
            <a:lvl5pPr marL="1693863" indent="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None/>
              <a:defRPr sz="1600">
                <a:solidFill>
                  <a:schemeClr val="tx1"/>
                </a:solidFill>
                <a:latin typeface="+mn-lt"/>
                <a:ea typeface="+mn-ea"/>
              </a:defRPr>
            </a:lvl5pPr>
            <a:lvl6pPr marL="23796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6pPr>
            <a:lvl7pPr marL="28368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7pPr>
            <a:lvl8pPr marL="32940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8pPr>
            <a:lvl9pPr marL="37512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r>
              <a:rPr lang="de-DE" kern="0" dirty="0"/>
              <a:t>Problem</a:t>
            </a:r>
          </a:p>
        </p:txBody>
      </p:sp>
      <p:sp>
        <p:nvSpPr>
          <p:cNvPr id="13" name="Inhaltsplatzhalter 2">
            <a:extLst>
              <a:ext uri="{FF2B5EF4-FFF2-40B4-BE49-F238E27FC236}">
                <a16:creationId xmlns:a16="http://schemas.microsoft.com/office/drawing/2014/main" id="{0A9D4812-C3AB-4CA8-9030-61C9F0D731C4}"/>
              </a:ext>
            </a:extLst>
          </p:cNvPr>
          <p:cNvSpPr txBox="1">
            <a:spLocks/>
          </p:cNvSpPr>
          <p:nvPr/>
        </p:nvSpPr>
        <p:spPr bwMode="auto">
          <a:xfrm>
            <a:off x="569706" y="4176488"/>
            <a:ext cx="7951481" cy="1810247"/>
          </a:xfrm>
          <a:prstGeom prst="rect">
            <a:avLst/>
          </a:prstGeom>
          <a:noFill/>
          <a:ln>
            <a:solidFill>
              <a:schemeClr val="tx1"/>
            </a:solidFill>
          </a:ln>
          <a:effectLst/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88913" indent="-188913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65163" indent="-28575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2000">
                <a:solidFill>
                  <a:schemeClr val="tx1"/>
                </a:solidFill>
                <a:latin typeface="+mn-lt"/>
                <a:ea typeface="+mn-ea"/>
              </a:defRPr>
            </a:lvl2pPr>
            <a:lvl3pPr marL="10842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2000">
                <a:solidFill>
                  <a:schemeClr val="tx1"/>
                </a:solidFill>
                <a:latin typeface="+mn-lt"/>
                <a:ea typeface="+mn-ea"/>
              </a:defRPr>
            </a:lvl3pPr>
            <a:lvl4pPr marL="15033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2000">
                <a:solidFill>
                  <a:schemeClr val="tx1"/>
                </a:solidFill>
                <a:latin typeface="+mn-lt"/>
                <a:ea typeface="+mn-ea"/>
              </a:defRPr>
            </a:lvl4pPr>
            <a:lvl5pPr marL="19224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2000">
                <a:solidFill>
                  <a:schemeClr val="tx1"/>
                </a:solidFill>
                <a:latin typeface="+mn-lt"/>
                <a:ea typeface="+mn-ea"/>
              </a:defRPr>
            </a:lvl5pPr>
            <a:lvl6pPr marL="23796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6pPr>
            <a:lvl7pPr marL="28368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7pPr>
            <a:lvl8pPr marL="32940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8pPr>
            <a:lvl9pPr marL="37512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r>
              <a:rPr lang="de-DE" sz="1800" kern="0" dirty="0"/>
              <a:t>Valide Datengrundlage ist schwierig zu ermitteln</a:t>
            </a:r>
          </a:p>
          <a:p>
            <a:r>
              <a:rPr lang="de-DE" sz="1800" kern="0" dirty="0"/>
              <a:t>Auswahlkriterien könnten nicht vollständig ermittelt werden</a:t>
            </a:r>
          </a:p>
          <a:p>
            <a:r>
              <a:rPr lang="de-DE" sz="1800" kern="0" dirty="0"/>
              <a:t>Zeitmangel</a:t>
            </a:r>
          </a:p>
          <a:p>
            <a:r>
              <a:rPr lang="de-DE" sz="1800" kern="0" dirty="0"/>
              <a:t>Der Algorithmus kann zu grob werden</a:t>
            </a:r>
          </a:p>
        </p:txBody>
      </p:sp>
    </p:spTree>
    <p:extLst>
      <p:ext uri="{BB962C8B-B14F-4D97-AF65-F5344CB8AC3E}">
        <p14:creationId xmlns:p14="http://schemas.microsoft.com/office/powerpoint/2010/main" val="8895906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5">
            <a:extLst>
              <a:ext uri="{FF2B5EF4-FFF2-40B4-BE49-F238E27FC236}">
                <a16:creationId xmlns:a16="http://schemas.microsoft.com/office/drawing/2014/main" id="{338621B7-CE6A-4E38-A4FC-0F8D896BCDD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73087" y="1100064"/>
            <a:ext cx="8074025" cy="633486"/>
          </a:xfrm>
        </p:spPr>
        <p:txBody>
          <a:bodyPr/>
          <a:lstStyle/>
          <a:p>
            <a:r>
              <a:rPr lang="de-DE" dirty="0"/>
              <a:t>Zielsetzung</a:t>
            </a:r>
          </a:p>
        </p:txBody>
      </p:sp>
      <p:sp>
        <p:nvSpPr>
          <p:cNvPr id="11" name="Inhaltsplatzhalter 2">
            <a:extLst>
              <a:ext uri="{FF2B5EF4-FFF2-40B4-BE49-F238E27FC236}">
                <a16:creationId xmlns:a16="http://schemas.microsoft.com/office/drawing/2014/main" id="{0A9D4812-C3AB-4CA8-9030-61C9F0D731C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3086" y="1664542"/>
            <a:ext cx="7951481" cy="1892390"/>
          </a:xfrm>
          <a:ln>
            <a:solidFill>
              <a:schemeClr val="tx1"/>
            </a:solidFill>
          </a:ln>
        </p:spPr>
        <p:txBody>
          <a:bodyPr/>
          <a:lstStyle/>
          <a:p>
            <a:pPr>
              <a:lnSpc>
                <a:spcPct val="150000"/>
              </a:lnSpc>
            </a:pPr>
            <a:r>
              <a:rPr lang="de-DE" sz="1200" dirty="0"/>
              <a:t>Einen Unterstützenden Algorithmus zu entwickeln, der bei Entscheidungsfindung, aufgrund der gewählten Kriterien unterstützt</a:t>
            </a:r>
          </a:p>
          <a:p>
            <a:pPr>
              <a:lnSpc>
                <a:spcPct val="150000"/>
              </a:lnSpc>
            </a:pPr>
            <a:r>
              <a:rPr lang="de-DE" sz="1200" dirty="0"/>
              <a:t>Zeitlichen rahmen einhalten</a:t>
            </a:r>
          </a:p>
          <a:p>
            <a:pPr>
              <a:lnSpc>
                <a:spcPct val="150000"/>
              </a:lnSpc>
            </a:pPr>
            <a:r>
              <a:rPr lang="de-DE" sz="1200" dirty="0"/>
              <a:t>Einfache Applikation in Python programmieren, die den Algorithmus bereitstellt und die Gewichtung der Kriterien erlaubt</a:t>
            </a:r>
          </a:p>
          <a:p>
            <a:pPr>
              <a:lnSpc>
                <a:spcPct val="150000"/>
              </a:lnSpc>
            </a:pPr>
            <a:r>
              <a:rPr lang="de-DE" sz="1200" dirty="0"/>
              <a:t>Eine sehr gute Projektdokumentation und Versions Kontrolle anstreben</a:t>
            </a:r>
          </a:p>
          <a:p>
            <a:endParaRPr lang="de-DE" sz="1800" dirty="0"/>
          </a:p>
        </p:txBody>
      </p:sp>
      <p:sp>
        <p:nvSpPr>
          <p:cNvPr id="9" name="Rectangle 2"/>
          <p:cNvSpPr>
            <a:spLocks noGrp="1" noChangeArrowheads="1"/>
          </p:cNvSpPr>
          <p:nvPr>
            <p:ph type="title"/>
          </p:nvPr>
        </p:nvSpPr>
        <p:spPr>
          <a:xfrm>
            <a:off x="573088" y="181219"/>
            <a:ext cx="8074025" cy="384721"/>
          </a:xfrm>
        </p:spPr>
        <p:txBody>
          <a:bodyPr/>
          <a:lstStyle/>
          <a:p>
            <a:r>
              <a:rPr lang="de-DE" sz="2500" kern="1200" dirty="0"/>
              <a:t>Klassifizierung am Beispiel Elektrofahrzeug</a:t>
            </a:r>
            <a:endParaRPr lang="de-DE" dirty="0"/>
          </a:p>
        </p:txBody>
      </p:sp>
      <p:sp>
        <p:nvSpPr>
          <p:cNvPr id="12" name="Text Box 4"/>
          <p:cNvSpPr txBox="1">
            <a:spLocks noChangeArrowheads="1"/>
          </p:cNvSpPr>
          <p:nvPr/>
        </p:nvSpPr>
        <p:spPr bwMode="auto">
          <a:xfrm>
            <a:off x="573088" y="573088"/>
            <a:ext cx="8074025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accent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algn="l"/>
            <a:r>
              <a:rPr lang="de-DE" sz="1800" dirty="0">
                <a:solidFill>
                  <a:schemeClr val="bg1"/>
                </a:solidFill>
              </a:rPr>
              <a:t>Projektdefinition</a:t>
            </a:r>
          </a:p>
        </p:txBody>
      </p:sp>
    </p:spTree>
    <p:extLst>
      <p:ext uri="{BB962C8B-B14F-4D97-AF65-F5344CB8AC3E}">
        <p14:creationId xmlns:p14="http://schemas.microsoft.com/office/powerpoint/2010/main" val="35748637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>
            <a:extLst>
              <a:ext uri="{FF2B5EF4-FFF2-40B4-BE49-F238E27FC236}">
                <a16:creationId xmlns:a16="http://schemas.microsoft.com/office/drawing/2014/main" id="{B453606B-A0E8-41C5-B886-D363150339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3088" y="188913"/>
            <a:ext cx="8074025" cy="369332"/>
          </a:xfrm>
        </p:spPr>
        <p:txBody>
          <a:bodyPr/>
          <a:lstStyle/>
          <a:p>
            <a:r>
              <a:rPr lang="de-DE" sz="2400" kern="1200" dirty="0"/>
              <a:t>Klassifizierung am Beispiel Elektrofahrzeug</a:t>
            </a:r>
            <a:endParaRPr lang="de-DE" dirty="0"/>
          </a:p>
        </p:txBody>
      </p:sp>
      <p:sp>
        <p:nvSpPr>
          <p:cNvPr id="9" name="Inhaltsplatzhalter 8">
            <a:extLst>
              <a:ext uri="{FF2B5EF4-FFF2-40B4-BE49-F238E27FC236}">
                <a16:creationId xmlns:a16="http://schemas.microsoft.com/office/drawing/2014/main" id="{461F416F-F2D8-418C-AC5D-88C99A13AFF9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pPr>
              <a:lnSpc>
                <a:spcPct val="150000"/>
              </a:lnSpc>
            </a:pPr>
            <a:r>
              <a:rPr lang="de-DE" sz="1200" kern="0" dirty="0"/>
              <a:t>Kriterien auswählen </a:t>
            </a:r>
          </a:p>
          <a:p>
            <a:pPr>
              <a:lnSpc>
                <a:spcPct val="150000"/>
              </a:lnSpc>
            </a:pPr>
            <a:r>
              <a:rPr lang="de-DE" sz="1200" dirty="0"/>
              <a:t>Kriterien suchen</a:t>
            </a:r>
            <a:endParaRPr lang="de-DE" sz="1200" kern="0" dirty="0"/>
          </a:p>
          <a:p>
            <a:pPr>
              <a:lnSpc>
                <a:spcPct val="150000"/>
              </a:lnSpc>
            </a:pPr>
            <a:r>
              <a:rPr lang="de-DE" sz="1200" kern="0" dirty="0"/>
              <a:t>Datengrundlage schaffen</a:t>
            </a:r>
          </a:p>
          <a:p>
            <a:pPr>
              <a:lnSpc>
                <a:spcPct val="150000"/>
              </a:lnSpc>
            </a:pPr>
            <a:r>
              <a:rPr lang="de-DE" sz="1200" kern="0" dirty="0"/>
              <a:t>Projektdokumentation pflegen</a:t>
            </a:r>
          </a:p>
          <a:p>
            <a:pPr>
              <a:lnSpc>
                <a:spcPct val="150000"/>
              </a:lnSpc>
            </a:pPr>
            <a:r>
              <a:rPr lang="de-DE" sz="1200" kern="0" dirty="0"/>
              <a:t>Aufgaben Zuweisung</a:t>
            </a:r>
          </a:p>
          <a:p>
            <a:pPr>
              <a:lnSpc>
                <a:spcPct val="150000"/>
              </a:lnSpc>
            </a:pPr>
            <a:r>
              <a:rPr lang="de-DE" sz="1200" kern="0" dirty="0"/>
              <a:t>GitHub </a:t>
            </a:r>
            <a:r>
              <a:rPr lang="de-DE" sz="1200" kern="0" dirty="0" err="1"/>
              <a:t>repository</a:t>
            </a:r>
            <a:r>
              <a:rPr lang="de-DE" sz="1200" kern="0" dirty="0"/>
              <a:t> anlegen zur Versions Kontrolle</a:t>
            </a:r>
          </a:p>
          <a:p>
            <a:pPr>
              <a:lnSpc>
                <a:spcPct val="150000"/>
              </a:lnSpc>
            </a:pPr>
            <a:r>
              <a:rPr lang="de-DE" sz="1200" kern="0" dirty="0"/>
              <a:t>Kommunikation steuern</a:t>
            </a:r>
          </a:p>
          <a:p>
            <a:pPr>
              <a:lnSpc>
                <a:spcPct val="150000"/>
              </a:lnSpc>
            </a:pPr>
            <a:r>
              <a:rPr lang="de-DE" sz="1200" kern="0" dirty="0"/>
              <a:t>Wie erstelle ich eine Python GUI? (Informationsbeschaffung)</a:t>
            </a:r>
          </a:p>
          <a:p>
            <a:pPr>
              <a:lnSpc>
                <a:spcPct val="150000"/>
              </a:lnSpc>
            </a:pPr>
            <a:r>
              <a:rPr lang="de-DE" sz="1200" kern="0" dirty="0"/>
              <a:t>Wie erstelle ich eine Python exe? (Informationsbeschaffung)</a:t>
            </a:r>
          </a:p>
          <a:p>
            <a:pPr>
              <a:lnSpc>
                <a:spcPct val="150000"/>
              </a:lnSpc>
            </a:pPr>
            <a:r>
              <a:rPr lang="de-DE" sz="1200" kern="0" dirty="0"/>
              <a:t>Wie designe ich den Python Algorithmus? (Informationsbeschaffung)</a:t>
            </a:r>
          </a:p>
          <a:p>
            <a:pPr>
              <a:lnSpc>
                <a:spcPct val="150000"/>
              </a:lnSpc>
            </a:pPr>
            <a:endParaRPr lang="de-DE" sz="1100" dirty="0"/>
          </a:p>
          <a:p>
            <a:pPr>
              <a:lnSpc>
                <a:spcPct val="150000"/>
              </a:lnSpc>
            </a:pPr>
            <a:endParaRPr lang="de-DE" sz="1100" kern="0" dirty="0"/>
          </a:p>
          <a:p>
            <a:pPr>
              <a:lnSpc>
                <a:spcPct val="150000"/>
              </a:lnSpc>
            </a:pPr>
            <a:endParaRPr lang="de-DE" sz="1200" kern="0" dirty="0"/>
          </a:p>
        </p:txBody>
      </p:sp>
      <p:sp>
        <p:nvSpPr>
          <p:cNvPr id="10" name="Inhaltsplatzhalter 9">
            <a:extLst>
              <a:ext uri="{FF2B5EF4-FFF2-40B4-BE49-F238E27FC236}">
                <a16:creationId xmlns:a16="http://schemas.microsoft.com/office/drawing/2014/main" id="{A659B6EE-43AD-4F05-BC79-8BA056B532AF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pPr>
              <a:lnSpc>
                <a:spcPct val="150000"/>
              </a:lnSpc>
            </a:pPr>
            <a:r>
              <a:rPr lang="de-DE" sz="1200" dirty="0"/>
              <a:t>Festlegen von Dokumentationsvorschriften</a:t>
            </a:r>
          </a:p>
          <a:p>
            <a:pPr>
              <a:lnSpc>
                <a:spcPct val="150000"/>
              </a:lnSpc>
            </a:pPr>
            <a:r>
              <a:rPr lang="de-DE" sz="1200" kern="0" dirty="0"/>
              <a:t>Festlegen des Zeitmanagem</a:t>
            </a:r>
            <a:r>
              <a:rPr lang="de-DE" sz="1200" dirty="0"/>
              <a:t>ents</a:t>
            </a:r>
          </a:p>
          <a:p>
            <a:pPr>
              <a:lnSpc>
                <a:spcPct val="150000"/>
              </a:lnSpc>
            </a:pPr>
            <a:r>
              <a:rPr lang="de-DE" sz="1200" dirty="0"/>
              <a:t>Erstellen der Python GUI</a:t>
            </a:r>
          </a:p>
          <a:p>
            <a:pPr>
              <a:lnSpc>
                <a:spcPct val="150000"/>
              </a:lnSpc>
            </a:pPr>
            <a:r>
              <a:rPr lang="de-DE" sz="1200" dirty="0"/>
              <a:t>Erstellen der Python exe</a:t>
            </a:r>
          </a:p>
          <a:p>
            <a:pPr>
              <a:lnSpc>
                <a:spcPct val="150000"/>
              </a:lnSpc>
            </a:pPr>
            <a:r>
              <a:rPr lang="de-DE" sz="1200" dirty="0"/>
              <a:t>Erstellen des Python Algorithmus</a:t>
            </a:r>
          </a:p>
          <a:p>
            <a:r>
              <a:rPr lang="de-DE" sz="1200" dirty="0"/>
              <a:t>Abschließen der Projektdokumentation</a:t>
            </a:r>
          </a:p>
          <a:p>
            <a:r>
              <a:rPr lang="de-DE" sz="1200" dirty="0"/>
              <a:t>Finale Test der Applikation</a:t>
            </a:r>
          </a:p>
          <a:p>
            <a:r>
              <a:rPr lang="de-DE" sz="1200" dirty="0"/>
              <a:t>Erstellen der Abschlusspräsentation</a:t>
            </a:r>
          </a:p>
          <a:p>
            <a:endParaRPr lang="de-DE" sz="1400" dirty="0"/>
          </a:p>
        </p:txBody>
      </p:sp>
      <p:sp>
        <p:nvSpPr>
          <p:cNvPr id="5" name="Textplatzhalter 5">
            <a:extLst>
              <a:ext uri="{FF2B5EF4-FFF2-40B4-BE49-F238E27FC236}">
                <a16:creationId xmlns:a16="http://schemas.microsoft.com/office/drawing/2014/main" id="{112B9036-1E70-4451-9BD4-E84CF948BB56}"/>
              </a:ext>
            </a:extLst>
          </p:cNvPr>
          <p:cNvSpPr txBox="1">
            <a:spLocks/>
          </p:cNvSpPr>
          <p:nvPr/>
        </p:nvSpPr>
        <p:spPr bwMode="auto">
          <a:xfrm>
            <a:off x="573088" y="1100064"/>
            <a:ext cx="8074025" cy="613775"/>
          </a:xfrm>
          <a:prstGeom prst="rect">
            <a:avLst/>
          </a:prstGeom>
          <a:noFill/>
          <a:ln>
            <a:noFill/>
          </a:ln>
          <a:effectLst/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None/>
              <a:defRPr sz="1800" b="1">
                <a:solidFill>
                  <a:schemeClr val="accent6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79413" indent="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None/>
              <a:defRPr sz="1600">
                <a:solidFill>
                  <a:schemeClr val="tx1"/>
                </a:solidFill>
                <a:latin typeface="+mn-lt"/>
                <a:ea typeface="+mn-ea"/>
              </a:defRPr>
            </a:lvl2pPr>
            <a:lvl3pPr marL="855663" indent="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None/>
              <a:defRPr sz="1600">
                <a:solidFill>
                  <a:schemeClr val="tx1"/>
                </a:solidFill>
                <a:latin typeface="+mn-lt"/>
                <a:ea typeface="+mn-ea"/>
              </a:defRPr>
            </a:lvl3pPr>
            <a:lvl4pPr marL="1274763" indent="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None/>
              <a:defRPr sz="1600">
                <a:solidFill>
                  <a:schemeClr val="tx1"/>
                </a:solidFill>
                <a:latin typeface="+mn-lt"/>
                <a:ea typeface="+mn-ea"/>
              </a:defRPr>
            </a:lvl4pPr>
            <a:lvl5pPr marL="1693863" indent="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None/>
              <a:defRPr sz="1600">
                <a:solidFill>
                  <a:schemeClr val="tx1"/>
                </a:solidFill>
                <a:latin typeface="+mn-lt"/>
                <a:ea typeface="+mn-ea"/>
              </a:defRPr>
            </a:lvl5pPr>
            <a:lvl6pPr marL="23796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6pPr>
            <a:lvl7pPr marL="28368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7pPr>
            <a:lvl8pPr marL="32940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8pPr>
            <a:lvl9pPr marL="37512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r>
              <a:rPr lang="de-DE" kern="0" dirty="0"/>
              <a:t>Aufgaben</a:t>
            </a:r>
          </a:p>
        </p:txBody>
      </p:sp>
      <p:sp>
        <p:nvSpPr>
          <p:cNvPr id="11" name="Text Box 4">
            <a:extLst>
              <a:ext uri="{FF2B5EF4-FFF2-40B4-BE49-F238E27FC236}">
                <a16:creationId xmlns:a16="http://schemas.microsoft.com/office/drawing/2014/main" id="{5FD5584E-345D-4AB7-9944-91C07C950F4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73088" y="573088"/>
            <a:ext cx="8074025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accent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algn="l"/>
            <a:r>
              <a:rPr lang="de-DE" sz="1800" dirty="0">
                <a:solidFill>
                  <a:schemeClr val="bg1"/>
                </a:solidFill>
              </a:rPr>
              <a:t>Projektdefinition</a:t>
            </a:r>
          </a:p>
        </p:txBody>
      </p:sp>
    </p:spTree>
    <p:extLst>
      <p:ext uri="{BB962C8B-B14F-4D97-AF65-F5344CB8AC3E}">
        <p14:creationId xmlns:p14="http://schemas.microsoft.com/office/powerpoint/2010/main" val="1259679593"/>
      </p:ext>
    </p:extLst>
  </p:cSld>
  <p:clrMapOvr>
    <a:masterClrMapping/>
  </p:clrMapOvr>
  <p:transition>
    <p:dissolv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5">
            <a:extLst>
              <a:ext uri="{FF2B5EF4-FFF2-40B4-BE49-F238E27FC236}">
                <a16:creationId xmlns:a16="http://schemas.microsoft.com/office/drawing/2014/main" id="{338621B7-CE6A-4E38-A4FC-0F8D896BCDD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73087" y="1100064"/>
            <a:ext cx="8074025" cy="633486"/>
          </a:xfrm>
        </p:spPr>
        <p:txBody>
          <a:bodyPr/>
          <a:lstStyle/>
          <a:p>
            <a:r>
              <a:rPr lang="de-DE" dirty="0"/>
              <a:t>Projektzuschnitt: In </a:t>
            </a:r>
            <a:r>
              <a:rPr lang="de-DE" dirty="0" err="1"/>
              <a:t>Scope</a:t>
            </a:r>
            <a:r>
              <a:rPr lang="de-DE" dirty="0"/>
              <a:t> / Out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Scope</a:t>
            </a:r>
            <a:endParaRPr lang="de-DE" dirty="0"/>
          </a:p>
        </p:txBody>
      </p:sp>
      <p:sp>
        <p:nvSpPr>
          <p:cNvPr id="9" name="Rectangle 2"/>
          <p:cNvSpPr>
            <a:spLocks noGrp="1" noChangeArrowheads="1"/>
          </p:cNvSpPr>
          <p:nvPr>
            <p:ph type="title"/>
          </p:nvPr>
        </p:nvSpPr>
        <p:spPr>
          <a:xfrm>
            <a:off x="573088" y="181219"/>
            <a:ext cx="8074025" cy="384721"/>
          </a:xfrm>
        </p:spPr>
        <p:txBody>
          <a:bodyPr/>
          <a:lstStyle/>
          <a:p>
            <a:r>
              <a:rPr lang="de-DE" sz="2500" kern="1200" dirty="0"/>
              <a:t>Klassifizierung am Beispiel Elektrofahrzeug</a:t>
            </a:r>
            <a:endParaRPr lang="de-DE" dirty="0"/>
          </a:p>
        </p:txBody>
      </p:sp>
      <p:sp>
        <p:nvSpPr>
          <p:cNvPr id="12" name="Text Box 4"/>
          <p:cNvSpPr txBox="1">
            <a:spLocks noChangeArrowheads="1"/>
          </p:cNvSpPr>
          <p:nvPr/>
        </p:nvSpPr>
        <p:spPr bwMode="auto">
          <a:xfrm>
            <a:off x="573088" y="573088"/>
            <a:ext cx="8074025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accent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algn="l"/>
            <a:r>
              <a:rPr lang="de-DE" sz="1800" dirty="0">
                <a:solidFill>
                  <a:schemeClr val="bg1"/>
                </a:solidFill>
              </a:rPr>
              <a:t>Projektdefinition</a:t>
            </a:r>
          </a:p>
        </p:txBody>
      </p:sp>
      <p:grpSp>
        <p:nvGrpSpPr>
          <p:cNvPr id="14" name="Group 3">
            <a:extLst>
              <a:ext uri="{FF2B5EF4-FFF2-40B4-BE49-F238E27FC236}">
                <a16:creationId xmlns:a16="http://schemas.microsoft.com/office/drawing/2014/main" id="{FF1D8071-E60E-B041-B1F8-C4509F6D34B6}"/>
              </a:ext>
            </a:extLst>
          </p:cNvPr>
          <p:cNvGrpSpPr>
            <a:grpSpLocks/>
          </p:cNvGrpSpPr>
          <p:nvPr/>
        </p:nvGrpSpPr>
        <p:grpSpPr bwMode="auto">
          <a:xfrm>
            <a:off x="1740877" y="2041282"/>
            <a:ext cx="5750169" cy="3631223"/>
            <a:chOff x="2112" y="2368"/>
            <a:chExt cx="1728" cy="1088"/>
          </a:xfrm>
        </p:grpSpPr>
        <p:sp>
          <p:nvSpPr>
            <p:cNvPr id="15" name="AutoShape 4">
              <a:extLst>
                <a:ext uri="{FF2B5EF4-FFF2-40B4-BE49-F238E27FC236}">
                  <a16:creationId xmlns:a16="http://schemas.microsoft.com/office/drawing/2014/main" id="{55A5B0D4-FAD6-6548-A0D9-3339FC35526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12" y="2368"/>
              <a:ext cx="1728" cy="128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w 21600"/>
                <a:gd name="T7" fmla="*/ 0 h 2160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2600 w 21600"/>
                <a:gd name="T13" fmla="*/ 2531 h 21600"/>
                <a:gd name="T14" fmla="*/ 19000 w 21600"/>
                <a:gd name="T15" fmla="*/ 19069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>
                  <a:moveTo>
                    <a:pt x="0" y="0"/>
                  </a:moveTo>
                  <a:lnTo>
                    <a:pt x="1600" y="21600"/>
                  </a:lnTo>
                  <a:lnTo>
                    <a:pt x="20000" y="21600"/>
                  </a:lnTo>
                  <a:lnTo>
                    <a:pt x="21600" y="0"/>
                  </a:lnTo>
                  <a:close/>
                </a:path>
              </a:pathLst>
            </a:custGeom>
            <a:solidFill>
              <a:srgbClr val="123466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de-DE" altLang="de-DE" sz="2308"/>
            </a:p>
          </p:txBody>
        </p:sp>
        <p:sp>
          <p:nvSpPr>
            <p:cNvPr id="16" name="AutoShape 5">
              <a:extLst>
                <a:ext uri="{FF2B5EF4-FFF2-40B4-BE49-F238E27FC236}">
                  <a16:creationId xmlns:a16="http://schemas.microsoft.com/office/drawing/2014/main" id="{66B58E88-780F-9844-A6B6-446ED9D70EA7}"/>
                </a:ext>
              </a:extLst>
            </p:cNvPr>
            <p:cNvSpPr>
              <a:spLocks noChangeArrowheads="1"/>
            </p:cNvSpPr>
            <p:nvPr/>
          </p:nvSpPr>
          <p:spPr bwMode="auto">
            <a:xfrm flipV="1">
              <a:off x="2112" y="3328"/>
              <a:ext cx="1728" cy="128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w 21600"/>
                <a:gd name="T7" fmla="*/ 0 h 2160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2600 w 21600"/>
                <a:gd name="T13" fmla="*/ 2531 h 21600"/>
                <a:gd name="T14" fmla="*/ 19000 w 21600"/>
                <a:gd name="T15" fmla="*/ 19069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>
                  <a:moveTo>
                    <a:pt x="0" y="0"/>
                  </a:moveTo>
                  <a:lnTo>
                    <a:pt x="1600" y="21600"/>
                  </a:lnTo>
                  <a:lnTo>
                    <a:pt x="20000" y="21600"/>
                  </a:lnTo>
                  <a:lnTo>
                    <a:pt x="21600" y="0"/>
                  </a:lnTo>
                  <a:close/>
                </a:path>
              </a:pathLst>
            </a:custGeom>
            <a:solidFill>
              <a:srgbClr val="123466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de-DE" altLang="de-DE" sz="2308"/>
            </a:p>
          </p:txBody>
        </p:sp>
        <p:sp>
          <p:nvSpPr>
            <p:cNvPr id="17" name="AutoShape 6">
              <a:extLst>
                <a:ext uri="{FF2B5EF4-FFF2-40B4-BE49-F238E27FC236}">
                  <a16:creationId xmlns:a16="http://schemas.microsoft.com/office/drawing/2014/main" id="{E9180EC1-A045-9147-84FA-2432A5AC9A3E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6200000" flipV="1">
              <a:off x="3232" y="2848"/>
              <a:ext cx="1088" cy="128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w 21600"/>
                <a:gd name="T7" fmla="*/ 0 h 2160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3057 w 21600"/>
                <a:gd name="T13" fmla="*/ 3038 h 21600"/>
                <a:gd name="T14" fmla="*/ 18543 w 21600"/>
                <a:gd name="T15" fmla="*/ 18563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>
                  <a:moveTo>
                    <a:pt x="0" y="0"/>
                  </a:moveTo>
                  <a:lnTo>
                    <a:pt x="2521" y="21600"/>
                  </a:lnTo>
                  <a:lnTo>
                    <a:pt x="19079" y="21600"/>
                  </a:lnTo>
                  <a:lnTo>
                    <a:pt x="21600" y="0"/>
                  </a:lnTo>
                  <a:close/>
                </a:path>
              </a:pathLst>
            </a:custGeom>
            <a:solidFill>
              <a:srgbClr val="123466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de-DE" altLang="de-DE" sz="2308"/>
            </a:p>
          </p:txBody>
        </p:sp>
        <p:sp>
          <p:nvSpPr>
            <p:cNvPr id="18" name="AutoShape 7">
              <a:extLst>
                <a:ext uri="{FF2B5EF4-FFF2-40B4-BE49-F238E27FC236}">
                  <a16:creationId xmlns:a16="http://schemas.microsoft.com/office/drawing/2014/main" id="{FE717663-3493-6D46-9462-16E970295915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5400000" flipH="1" flipV="1">
              <a:off x="1632" y="2848"/>
              <a:ext cx="1088" cy="128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w 21600"/>
                <a:gd name="T7" fmla="*/ 0 h 2160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3057 w 21600"/>
                <a:gd name="T13" fmla="*/ 3038 h 21600"/>
                <a:gd name="T14" fmla="*/ 18543 w 21600"/>
                <a:gd name="T15" fmla="*/ 18563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>
                  <a:moveTo>
                    <a:pt x="0" y="0"/>
                  </a:moveTo>
                  <a:lnTo>
                    <a:pt x="2521" y="21600"/>
                  </a:lnTo>
                  <a:lnTo>
                    <a:pt x="19079" y="21600"/>
                  </a:lnTo>
                  <a:lnTo>
                    <a:pt x="21600" y="0"/>
                  </a:lnTo>
                  <a:close/>
                </a:path>
              </a:pathLst>
            </a:custGeom>
            <a:solidFill>
              <a:srgbClr val="123466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de-DE" altLang="de-DE" sz="2308"/>
            </a:p>
          </p:txBody>
        </p:sp>
      </p:grpSp>
      <p:sp>
        <p:nvSpPr>
          <p:cNvPr id="19" name="Rectangle 8">
            <a:extLst>
              <a:ext uri="{FF2B5EF4-FFF2-40B4-BE49-F238E27FC236}">
                <a16:creationId xmlns:a16="http://schemas.microsoft.com/office/drawing/2014/main" id="{96F8627F-6518-484C-A599-43FD66328600}"/>
              </a:ext>
            </a:extLst>
          </p:cNvPr>
          <p:cNvSpPr>
            <a:spLocks noChangeArrowheads="1"/>
          </p:cNvSpPr>
          <p:nvPr/>
        </p:nvSpPr>
        <p:spPr bwMode="auto">
          <a:xfrm>
            <a:off x="2435470" y="2713892"/>
            <a:ext cx="1323243" cy="663820"/>
          </a:xfrm>
          <a:prstGeom prst="rect">
            <a:avLst/>
          </a:prstGeom>
          <a:solidFill>
            <a:srgbClr val="123466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r>
              <a:rPr lang="de-DE" altLang="de-DE" sz="1108" dirty="0">
                <a:solidFill>
                  <a:schemeClr val="bg1"/>
                </a:solidFill>
              </a:rPr>
              <a:t>Elektroautos</a:t>
            </a:r>
          </a:p>
        </p:txBody>
      </p:sp>
      <p:sp>
        <p:nvSpPr>
          <p:cNvPr id="20" name="Rectangle 9">
            <a:extLst>
              <a:ext uri="{FF2B5EF4-FFF2-40B4-BE49-F238E27FC236}">
                <a16:creationId xmlns:a16="http://schemas.microsoft.com/office/drawing/2014/main" id="{62019EEE-9A6D-7F4B-8E95-DEDFCEAF9E95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34654" y="1900605"/>
            <a:ext cx="1324708" cy="663819"/>
          </a:xfrm>
          <a:prstGeom prst="rect">
            <a:avLst/>
          </a:prstGeom>
          <a:noFill/>
          <a:ln w="19050">
            <a:solidFill>
              <a:srgbClr val="4D4D4D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r>
              <a:rPr lang="de-DE" altLang="de-DE" sz="1108" dirty="0"/>
              <a:t>Motorräder</a:t>
            </a:r>
          </a:p>
        </p:txBody>
      </p:sp>
      <p:sp>
        <p:nvSpPr>
          <p:cNvPr id="21" name="Rectangle 10">
            <a:extLst>
              <a:ext uri="{FF2B5EF4-FFF2-40B4-BE49-F238E27FC236}">
                <a16:creationId xmlns:a16="http://schemas.microsoft.com/office/drawing/2014/main" id="{FE4EEB46-7FCC-1841-9842-374FD0E8309E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34654" y="2713892"/>
            <a:ext cx="1324708" cy="663820"/>
          </a:xfrm>
          <a:prstGeom prst="rect">
            <a:avLst/>
          </a:prstGeom>
          <a:noFill/>
          <a:ln w="19050">
            <a:solidFill>
              <a:srgbClr val="4D4D4D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r>
              <a:rPr lang="de-DE" altLang="de-DE" sz="1108" dirty="0"/>
              <a:t>LKWs</a:t>
            </a:r>
          </a:p>
        </p:txBody>
      </p:sp>
      <p:sp>
        <p:nvSpPr>
          <p:cNvPr id="22" name="Rectangle 11">
            <a:extLst>
              <a:ext uri="{FF2B5EF4-FFF2-40B4-BE49-F238E27FC236}">
                <a16:creationId xmlns:a16="http://schemas.microsoft.com/office/drawing/2014/main" id="{EC38DEF8-304E-8F45-9E20-C7DA65387EDF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34654" y="3527182"/>
            <a:ext cx="1324708" cy="663819"/>
          </a:xfrm>
          <a:prstGeom prst="rect">
            <a:avLst/>
          </a:prstGeom>
          <a:noFill/>
          <a:ln w="19050">
            <a:solidFill>
              <a:srgbClr val="4D4D4D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r>
              <a:rPr lang="de-DE" altLang="de-DE" sz="1108" dirty="0"/>
              <a:t>Geschlecht</a:t>
            </a:r>
          </a:p>
        </p:txBody>
      </p:sp>
      <p:sp>
        <p:nvSpPr>
          <p:cNvPr id="23" name="Rectangle 12">
            <a:extLst>
              <a:ext uri="{FF2B5EF4-FFF2-40B4-BE49-F238E27FC236}">
                <a16:creationId xmlns:a16="http://schemas.microsoft.com/office/drawing/2014/main" id="{094A6EE1-FF3B-B245-BE33-546CDA2B9E0A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34654" y="4340469"/>
            <a:ext cx="1324708" cy="663820"/>
          </a:xfrm>
          <a:prstGeom prst="rect">
            <a:avLst/>
          </a:prstGeom>
          <a:noFill/>
          <a:ln w="19050">
            <a:solidFill>
              <a:srgbClr val="4D4D4D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r>
              <a:rPr lang="de-DE" altLang="de-DE" sz="1108" dirty="0"/>
              <a:t>Politische Einstellung</a:t>
            </a:r>
          </a:p>
        </p:txBody>
      </p:sp>
      <p:sp>
        <p:nvSpPr>
          <p:cNvPr id="24" name="Rectangle 13">
            <a:extLst>
              <a:ext uri="{FF2B5EF4-FFF2-40B4-BE49-F238E27FC236}">
                <a16:creationId xmlns:a16="http://schemas.microsoft.com/office/drawing/2014/main" id="{981FAE73-B973-E042-827B-DB7A6960FEAE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34654" y="5175738"/>
            <a:ext cx="1324708" cy="663820"/>
          </a:xfrm>
          <a:prstGeom prst="rect">
            <a:avLst/>
          </a:prstGeom>
          <a:noFill/>
          <a:ln w="19050">
            <a:solidFill>
              <a:srgbClr val="4D4D4D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r>
              <a:rPr lang="de-DE" altLang="de-DE" sz="1108" dirty="0"/>
              <a:t>Cluster/ A-Priori</a:t>
            </a:r>
          </a:p>
        </p:txBody>
      </p:sp>
      <p:sp>
        <p:nvSpPr>
          <p:cNvPr id="25" name="Rectangle 14">
            <a:extLst>
              <a:ext uri="{FF2B5EF4-FFF2-40B4-BE49-F238E27FC236}">
                <a16:creationId xmlns:a16="http://schemas.microsoft.com/office/drawing/2014/main" id="{93E73510-C380-F544-8D85-250777570799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2046" y="1900605"/>
            <a:ext cx="1324708" cy="663819"/>
          </a:xfrm>
          <a:prstGeom prst="rect">
            <a:avLst/>
          </a:prstGeom>
          <a:noFill/>
          <a:ln w="19050">
            <a:solidFill>
              <a:srgbClr val="4D4D4D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r>
              <a:rPr lang="de-DE" altLang="de-DE" sz="1108" dirty="0"/>
              <a:t>Diesel</a:t>
            </a:r>
          </a:p>
        </p:txBody>
      </p:sp>
      <p:sp>
        <p:nvSpPr>
          <p:cNvPr id="26" name="Rectangle 15">
            <a:extLst>
              <a:ext uri="{FF2B5EF4-FFF2-40B4-BE49-F238E27FC236}">
                <a16:creationId xmlns:a16="http://schemas.microsoft.com/office/drawing/2014/main" id="{D1F6C32E-E5CA-964A-BFFA-E5AC4EF135DE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2046" y="2713892"/>
            <a:ext cx="1324708" cy="663820"/>
          </a:xfrm>
          <a:prstGeom prst="rect">
            <a:avLst/>
          </a:prstGeom>
          <a:noFill/>
          <a:ln w="19050">
            <a:solidFill>
              <a:srgbClr val="4D4D4D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r>
              <a:rPr lang="de-DE" altLang="de-DE" sz="1108" dirty="0"/>
              <a:t>Benziner</a:t>
            </a:r>
          </a:p>
        </p:txBody>
      </p:sp>
      <p:sp>
        <p:nvSpPr>
          <p:cNvPr id="27" name="Rectangle 16">
            <a:extLst>
              <a:ext uri="{FF2B5EF4-FFF2-40B4-BE49-F238E27FC236}">
                <a16:creationId xmlns:a16="http://schemas.microsoft.com/office/drawing/2014/main" id="{C792B7B7-9256-9149-BB8F-06421B71202E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2046" y="3527182"/>
            <a:ext cx="1324708" cy="663819"/>
          </a:xfrm>
          <a:prstGeom prst="rect">
            <a:avLst/>
          </a:prstGeom>
          <a:noFill/>
          <a:ln w="19050">
            <a:solidFill>
              <a:srgbClr val="4D4D4D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r>
              <a:rPr lang="de-DE" altLang="de-DE" sz="1108" dirty="0"/>
              <a:t>Gas</a:t>
            </a:r>
          </a:p>
        </p:txBody>
      </p:sp>
      <p:sp>
        <p:nvSpPr>
          <p:cNvPr id="28" name="Rectangle 17">
            <a:extLst>
              <a:ext uri="{FF2B5EF4-FFF2-40B4-BE49-F238E27FC236}">
                <a16:creationId xmlns:a16="http://schemas.microsoft.com/office/drawing/2014/main" id="{70FABAAD-FE7C-9E47-A7D3-AA3E92C944C0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2046" y="4340469"/>
            <a:ext cx="1324708" cy="663820"/>
          </a:xfrm>
          <a:prstGeom prst="rect">
            <a:avLst/>
          </a:prstGeom>
          <a:noFill/>
          <a:ln w="19050">
            <a:solidFill>
              <a:srgbClr val="4D4D4D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r>
              <a:rPr lang="de-DE" altLang="de-DE" sz="1108" dirty="0"/>
              <a:t>Kreisebene</a:t>
            </a:r>
          </a:p>
        </p:txBody>
      </p:sp>
      <p:sp>
        <p:nvSpPr>
          <p:cNvPr id="29" name="Rectangle 18">
            <a:extLst>
              <a:ext uri="{FF2B5EF4-FFF2-40B4-BE49-F238E27FC236}">
                <a16:creationId xmlns:a16="http://schemas.microsoft.com/office/drawing/2014/main" id="{D7C9A38C-02BF-2849-8C8D-37E796ED1918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2046" y="5175738"/>
            <a:ext cx="1324708" cy="663820"/>
          </a:xfrm>
          <a:prstGeom prst="rect">
            <a:avLst/>
          </a:prstGeom>
          <a:noFill/>
          <a:ln w="19050">
            <a:solidFill>
              <a:srgbClr val="4D4D4D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r>
              <a:rPr lang="de-DE" altLang="de-DE" sz="1108" dirty="0"/>
              <a:t>Bundesebene</a:t>
            </a:r>
          </a:p>
        </p:txBody>
      </p:sp>
      <p:sp>
        <p:nvSpPr>
          <p:cNvPr id="30" name="Rectangle 19">
            <a:extLst>
              <a:ext uri="{FF2B5EF4-FFF2-40B4-BE49-F238E27FC236}">
                <a16:creationId xmlns:a16="http://schemas.microsoft.com/office/drawing/2014/main" id="{83F48DDE-DBB5-3A43-B076-FCED2D5A1861}"/>
              </a:ext>
            </a:extLst>
          </p:cNvPr>
          <p:cNvSpPr>
            <a:spLocks noChangeArrowheads="1"/>
          </p:cNvSpPr>
          <p:nvPr/>
        </p:nvSpPr>
        <p:spPr bwMode="auto">
          <a:xfrm>
            <a:off x="2435470" y="3527182"/>
            <a:ext cx="1323243" cy="663819"/>
          </a:xfrm>
          <a:prstGeom prst="rect">
            <a:avLst/>
          </a:prstGeom>
          <a:solidFill>
            <a:srgbClr val="123466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r>
              <a:rPr lang="de-DE" altLang="de-DE" sz="1108" dirty="0">
                <a:solidFill>
                  <a:schemeClr val="bg1"/>
                </a:solidFill>
              </a:rPr>
              <a:t>Alter</a:t>
            </a:r>
          </a:p>
        </p:txBody>
      </p:sp>
      <p:sp>
        <p:nvSpPr>
          <p:cNvPr id="32" name="Rectangle 21">
            <a:extLst>
              <a:ext uri="{FF2B5EF4-FFF2-40B4-BE49-F238E27FC236}">
                <a16:creationId xmlns:a16="http://schemas.microsoft.com/office/drawing/2014/main" id="{87431E54-462C-DB4D-A402-66C445C6AB49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84381" y="2713892"/>
            <a:ext cx="1324708" cy="663820"/>
          </a:xfrm>
          <a:prstGeom prst="rect">
            <a:avLst/>
          </a:prstGeom>
          <a:solidFill>
            <a:srgbClr val="123466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r>
              <a:rPr lang="de-DE" altLang="de-DE" sz="1108" dirty="0">
                <a:solidFill>
                  <a:schemeClr val="bg1"/>
                </a:solidFill>
              </a:rPr>
              <a:t>Länderebene</a:t>
            </a:r>
          </a:p>
        </p:txBody>
      </p:sp>
      <p:sp>
        <p:nvSpPr>
          <p:cNvPr id="33" name="Rectangle 22">
            <a:extLst>
              <a:ext uri="{FF2B5EF4-FFF2-40B4-BE49-F238E27FC236}">
                <a16:creationId xmlns:a16="http://schemas.microsoft.com/office/drawing/2014/main" id="{28D1F757-BC14-E84E-8B8E-48DFF4B2AFD5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84381" y="3527182"/>
            <a:ext cx="1324708" cy="663819"/>
          </a:xfrm>
          <a:prstGeom prst="rect">
            <a:avLst/>
          </a:prstGeom>
          <a:solidFill>
            <a:srgbClr val="123466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r>
              <a:rPr lang="de-DE" altLang="de-DE" sz="1108" dirty="0">
                <a:solidFill>
                  <a:schemeClr val="bg1"/>
                </a:solidFill>
              </a:rPr>
              <a:t>Ladesäulen pro KM²</a:t>
            </a:r>
          </a:p>
        </p:txBody>
      </p:sp>
      <p:sp>
        <p:nvSpPr>
          <p:cNvPr id="34" name="Rectangle 23">
            <a:extLst>
              <a:ext uri="{FF2B5EF4-FFF2-40B4-BE49-F238E27FC236}">
                <a16:creationId xmlns:a16="http://schemas.microsoft.com/office/drawing/2014/main" id="{298DA043-CCCC-F04F-90C8-F5C0509D2A80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84381" y="4340469"/>
            <a:ext cx="1324708" cy="663820"/>
          </a:xfrm>
          <a:prstGeom prst="rect">
            <a:avLst/>
          </a:prstGeom>
          <a:solidFill>
            <a:srgbClr val="123466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r>
              <a:rPr lang="de-DE" altLang="de-DE" sz="1108">
                <a:solidFill>
                  <a:schemeClr val="bg1"/>
                </a:solidFill>
              </a:rPr>
              <a:t>Klassifizierung</a:t>
            </a:r>
            <a:endParaRPr lang="de-DE" altLang="de-DE" sz="1108" dirty="0">
              <a:solidFill>
                <a:schemeClr val="bg1"/>
              </a:solidFill>
            </a:endParaRPr>
          </a:p>
        </p:txBody>
      </p:sp>
      <p:sp>
        <p:nvSpPr>
          <p:cNvPr id="35" name="Rectangle 24">
            <a:extLst>
              <a:ext uri="{FF2B5EF4-FFF2-40B4-BE49-F238E27FC236}">
                <a16:creationId xmlns:a16="http://schemas.microsoft.com/office/drawing/2014/main" id="{06A0BB67-7F53-904E-AB20-AAAD765991AD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33292" y="2713892"/>
            <a:ext cx="1326174" cy="663820"/>
          </a:xfrm>
          <a:prstGeom prst="rect">
            <a:avLst/>
          </a:prstGeom>
          <a:solidFill>
            <a:srgbClr val="123466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r>
              <a:rPr lang="de-DE" altLang="de-DE" sz="1108" dirty="0">
                <a:solidFill>
                  <a:schemeClr val="bg1"/>
                </a:solidFill>
              </a:rPr>
              <a:t>Kaufkraft</a:t>
            </a:r>
          </a:p>
        </p:txBody>
      </p:sp>
      <p:sp>
        <p:nvSpPr>
          <p:cNvPr id="36" name="Rectangle 25">
            <a:extLst>
              <a:ext uri="{FF2B5EF4-FFF2-40B4-BE49-F238E27FC236}">
                <a16:creationId xmlns:a16="http://schemas.microsoft.com/office/drawing/2014/main" id="{284797D7-B2C0-8D40-9F99-0EABE37DD2BF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33292" y="3527182"/>
            <a:ext cx="1326174" cy="663819"/>
          </a:xfrm>
          <a:prstGeom prst="rect">
            <a:avLst/>
          </a:prstGeom>
          <a:solidFill>
            <a:srgbClr val="123466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r>
              <a:rPr lang="de-DE" altLang="de-DE" sz="1108" dirty="0">
                <a:solidFill>
                  <a:schemeClr val="bg1"/>
                </a:solidFill>
              </a:rPr>
              <a:t>Marketingvorschlag</a:t>
            </a:r>
          </a:p>
        </p:txBody>
      </p:sp>
      <p:sp>
        <p:nvSpPr>
          <p:cNvPr id="41" name="Rectangle 30">
            <a:extLst>
              <a:ext uri="{FF2B5EF4-FFF2-40B4-BE49-F238E27FC236}">
                <a16:creationId xmlns:a16="http://schemas.microsoft.com/office/drawing/2014/main" id="{886FCF85-DC48-8A42-A558-EBAF9804C547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76846" y="2095501"/>
            <a:ext cx="974947" cy="2969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ct val="30000"/>
              </a:spcAft>
              <a:buClr>
                <a:schemeClr val="accent2"/>
              </a:buClr>
              <a:buSzPct val="140000"/>
            </a:pPr>
            <a:r>
              <a:rPr lang="de-DE" altLang="de-DE" sz="1477" b="1" dirty="0">
                <a:solidFill>
                  <a:schemeClr val="bg1"/>
                </a:solidFill>
              </a:rPr>
              <a:t>In Scope</a:t>
            </a:r>
          </a:p>
        </p:txBody>
      </p:sp>
      <p:sp>
        <p:nvSpPr>
          <p:cNvPr id="42" name="Rectangle 31">
            <a:extLst>
              <a:ext uri="{FF2B5EF4-FFF2-40B4-BE49-F238E27FC236}">
                <a16:creationId xmlns:a16="http://schemas.microsoft.com/office/drawing/2014/main" id="{4A27E050-DF6F-214A-A1DF-4C02A4A83140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81416" y="1537190"/>
            <a:ext cx="1415772" cy="2969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Bef>
                <a:spcPct val="50000"/>
              </a:spcBef>
              <a:spcAft>
                <a:spcPct val="30000"/>
              </a:spcAft>
              <a:buClr>
                <a:schemeClr val="accent2"/>
              </a:buClr>
              <a:buSzPct val="140000"/>
            </a:pPr>
            <a:r>
              <a:rPr lang="de-DE" altLang="de-DE" sz="1477" dirty="0"/>
              <a:t> </a:t>
            </a:r>
            <a:r>
              <a:rPr lang="de-DE" altLang="de-DE" sz="1477" b="1" dirty="0"/>
              <a:t>Out of Scope</a:t>
            </a:r>
          </a:p>
        </p:txBody>
      </p:sp>
    </p:spTree>
    <p:extLst>
      <p:ext uri="{BB962C8B-B14F-4D97-AF65-F5344CB8AC3E}">
        <p14:creationId xmlns:p14="http://schemas.microsoft.com/office/powerpoint/2010/main" val="11001247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586590" y="1715586"/>
            <a:ext cx="3700732" cy="355405"/>
          </a:xfrm>
        </p:spPr>
        <p:txBody>
          <a:bodyPr/>
          <a:lstStyle/>
          <a:p>
            <a:r>
              <a:rPr lang="de-DE" sz="2000" b="0" dirty="0"/>
              <a:t>Qualitativ</a:t>
            </a:r>
            <a:endParaRPr lang="de-DE" b="0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586590" y="2125797"/>
            <a:ext cx="3780000" cy="3714288"/>
          </a:xfrm>
          <a:ln>
            <a:solidFill>
              <a:schemeClr val="tx1"/>
            </a:solidFill>
          </a:ln>
        </p:spPr>
        <p:txBody>
          <a:bodyPr/>
          <a:lstStyle/>
          <a:p>
            <a:r>
              <a:rPr lang="de-DE" sz="2000" dirty="0"/>
              <a:t>Unterstützt die Potential Erkennung für Absatzsteigerung</a:t>
            </a:r>
          </a:p>
          <a:p>
            <a:r>
              <a:rPr lang="de-DE" sz="2000" dirty="0"/>
              <a:t>Erlaubt die einfache Gewichtung von Kriterien</a:t>
            </a:r>
          </a:p>
          <a:p>
            <a:r>
              <a:rPr lang="de-DE" sz="2000" dirty="0"/>
              <a:t>Macht die Situation in den Bundeländern vergleichbar</a:t>
            </a:r>
          </a:p>
          <a:p>
            <a:r>
              <a:rPr lang="de-DE" sz="2000" dirty="0"/>
              <a:t>Beruht auf Validen Daten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772225" y="1715586"/>
            <a:ext cx="3780001" cy="355406"/>
          </a:xfrm>
        </p:spPr>
        <p:txBody>
          <a:bodyPr/>
          <a:lstStyle/>
          <a:p>
            <a:r>
              <a:rPr lang="de-DE" sz="2000" b="0" dirty="0"/>
              <a:t>Quantitativ</a:t>
            </a:r>
            <a:endParaRPr lang="de-DE" b="0" dirty="0"/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772226" y="2125797"/>
            <a:ext cx="3780000" cy="3714287"/>
          </a:xfrm>
          <a:ln>
            <a:solidFill>
              <a:schemeClr val="tx1"/>
            </a:solidFill>
          </a:ln>
        </p:spPr>
        <p:txBody>
          <a:bodyPr/>
          <a:lstStyle/>
          <a:p>
            <a:r>
              <a:rPr lang="de-DE" sz="2000" dirty="0"/>
              <a:t>Verringert die kosten für Marketing durch Effizienz Steigerung</a:t>
            </a:r>
          </a:p>
          <a:p>
            <a:r>
              <a:rPr lang="de-DE" sz="2000" dirty="0"/>
              <a:t>Spart zeit bei der Ort Auswahl für die Marketingmaßnahmen</a:t>
            </a:r>
          </a:p>
          <a:p>
            <a:r>
              <a:rPr lang="de-DE" sz="2000" dirty="0"/>
              <a:t>Steht Kostengünstig zur Verfügung</a:t>
            </a:r>
          </a:p>
          <a:p>
            <a:endParaRPr lang="de-DE" sz="2000" dirty="0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title"/>
          </p:nvPr>
        </p:nvSpPr>
        <p:spPr>
          <a:xfrm>
            <a:off x="573088" y="181219"/>
            <a:ext cx="8074025" cy="384721"/>
          </a:xfrm>
        </p:spPr>
        <p:txBody>
          <a:bodyPr/>
          <a:lstStyle/>
          <a:p>
            <a:r>
              <a:rPr lang="de-DE" sz="2500" kern="1200" dirty="0"/>
              <a:t>Klassifizierung am Beispiel Elektrofahrzeug</a:t>
            </a:r>
            <a:endParaRPr lang="de-DE" dirty="0"/>
          </a:p>
        </p:txBody>
      </p:sp>
      <p:sp>
        <p:nvSpPr>
          <p:cNvPr id="8" name="Text Box 4"/>
          <p:cNvSpPr txBox="1">
            <a:spLocks noChangeArrowheads="1"/>
          </p:cNvSpPr>
          <p:nvPr/>
        </p:nvSpPr>
        <p:spPr bwMode="auto">
          <a:xfrm>
            <a:off x="573088" y="573088"/>
            <a:ext cx="8074025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accent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algn="l"/>
            <a:r>
              <a:rPr lang="de-DE" sz="1800" dirty="0">
                <a:solidFill>
                  <a:schemeClr val="bg1"/>
                </a:solidFill>
              </a:rPr>
              <a:t>Projektdefinition</a:t>
            </a:r>
          </a:p>
        </p:txBody>
      </p:sp>
      <p:sp>
        <p:nvSpPr>
          <p:cNvPr id="13" name="Textplatzhalter 5">
            <a:extLst>
              <a:ext uri="{FF2B5EF4-FFF2-40B4-BE49-F238E27FC236}">
                <a16:creationId xmlns:a16="http://schemas.microsoft.com/office/drawing/2014/main" id="{338621B7-CE6A-4E38-A4FC-0F8D896BCDD6}"/>
              </a:ext>
            </a:extLst>
          </p:cNvPr>
          <p:cNvSpPr txBox="1">
            <a:spLocks/>
          </p:cNvSpPr>
          <p:nvPr/>
        </p:nvSpPr>
        <p:spPr>
          <a:xfrm>
            <a:off x="478201" y="1100064"/>
            <a:ext cx="8074025" cy="633486"/>
          </a:xfrm>
          <a:prstGeom prst="rect">
            <a:avLst/>
          </a:prstGeom>
        </p:spPr>
        <p:txBody>
          <a:bodyPr anchor="ctr"/>
          <a:lstStyle>
            <a:lvl1pPr marL="188913" indent="-188913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65163" indent="-28575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2pPr>
            <a:lvl3pPr marL="10842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3pPr>
            <a:lvl4pPr marL="15033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4pPr>
            <a:lvl5pPr marL="19224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5pPr>
            <a:lvl6pPr marL="23796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6pPr>
            <a:lvl7pPr marL="28368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7pPr>
            <a:lvl8pPr marL="32940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8pPr>
            <a:lvl9pPr marL="37512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marL="0" indent="0">
              <a:buNone/>
            </a:pPr>
            <a:r>
              <a:rPr lang="de-DE" sz="1800" b="1" kern="0" dirty="0">
                <a:solidFill>
                  <a:schemeClr val="accent6">
                    <a:lumMod val="75000"/>
                  </a:schemeClr>
                </a:solidFill>
              </a:rPr>
              <a:t>Nutzen</a:t>
            </a:r>
            <a:endParaRPr lang="de-DE" b="1" kern="0" dirty="0">
              <a:solidFill>
                <a:schemeClr val="accent6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365025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5">
            <a:extLst>
              <a:ext uri="{FF2B5EF4-FFF2-40B4-BE49-F238E27FC236}">
                <a16:creationId xmlns:a16="http://schemas.microsoft.com/office/drawing/2014/main" id="{338621B7-CE6A-4E38-A4FC-0F8D896BCDD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73087" y="1100064"/>
            <a:ext cx="8074025" cy="633486"/>
          </a:xfrm>
        </p:spPr>
        <p:txBody>
          <a:bodyPr/>
          <a:lstStyle/>
          <a:p>
            <a:r>
              <a:rPr lang="de-DE" dirty="0"/>
              <a:t>Randbedingungen</a:t>
            </a:r>
          </a:p>
        </p:txBody>
      </p:sp>
      <p:sp>
        <p:nvSpPr>
          <p:cNvPr id="11" name="Inhaltsplatzhalter 2">
            <a:extLst>
              <a:ext uri="{FF2B5EF4-FFF2-40B4-BE49-F238E27FC236}">
                <a16:creationId xmlns:a16="http://schemas.microsoft.com/office/drawing/2014/main" id="{0A9D4812-C3AB-4CA8-9030-61C9F0D731C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3086" y="1664542"/>
            <a:ext cx="7951481" cy="1810800"/>
          </a:xfrm>
          <a:ln>
            <a:solidFill>
              <a:schemeClr val="tx1"/>
            </a:solidFill>
          </a:ln>
        </p:spPr>
        <p:txBody>
          <a:bodyPr/>
          <a:lstStyle/>
          <a:p>
            <a:pPr>
              <a:lnSpc>
                <a:spcPct val="150000"/>
              </a:lnSpc>
            </a:pPr>
            <a:r>
              <a:rPr lang="de-DE" sz="1600" dirty="0"/>
              <a:t>Verfügbarkeit von Software und Hardware</a:t>
            </a:r>
          </a:p>
          <a:p>
            <a:pPr>
              <a:lnSpc>
                <a:spcPct val="150000"/>
              </a:lnSpc>
            </a:pPr>
            <a:r>
              <a:rPr lang="de-DE" sz="1600" dirty="0"/>
              <a:t>Keine Vernachlässigung von andern laufenden Projekten/Modulen</a:t>
            </a:r>
          </a:p>
          <a:p>
            <a:pPr>
              <a:lnSpc>
                <a:spcPct val="150000"/>
              </a:lnSpc>
            </a:pPr>
            <a:r>
              <a:rPr lang="de-DE" sz="1600" dirty="0"/>
              <a:t>Zuverlässigkeit der Projektteilnehmer</a:t>
            </a:r>
          </a:p>
          <a:p>
            <a:pPr>
              <a:lnSpc>
                <a:spcPct val="150000"/>
              </a:lnSpc>
            </a:pPr>
            <a:r>
              <a:rPr lang="de-DE" sz="1600" dirty="0"/>
              <a:t>Kommunikationsbereitschaft der Projektteilnehmer</a:t>
            </a:r>
          </a:p>
          <a:p>
            <a:endParaRPr lang="de-DE" sz="1800" dirty="0"/>
          </a:p>
        </p:txBody>
      </p:sp>
      <p:sp>
        <p:nvSpPr>
          <p:cNvPr id="9" name="Rectangle 2"/>
          <p:cNvSpPr>
            <a:spLocks noGrp="1" noChangeArrowheads="1"/>
          </p:cNvSpPr>
          <p:nvPr>
            <p:ph type="title"/>
          </p:nvPr>
        </p:nvSpPr>
        <p:spPr>
          <a:xfrm>
            <a:off x="573088" y="181219"/>
            <a:ext cx="8074025" cy="384721"/>
          </a:xfrm>
        </p:spPr>
        <p:txBody>
          <a:bodyPr/>
          <a:lstStyle/>
          <a:p>
            <a:r>
              <a:rPr lang="de-DE" sz="2500" kern="1200" dirty="0"/>
              <a:t>Klassifizierung am Beispiel Elektrofahrzeug</a:t>
            </a:r>
            <a:endParaRPr lang="de-DE" dirty="0"/>
          </a:p>
        </p:txBody>
      </p:sp>
      <p:sp>
        <p:nvSpPr>
          <p:cNvPr id="12" name="Text Box 4"/>
          <p:cNvSpPr txBox="1">
            <a:spLocks noChangeArrowheads="1"/>
          </p:cNvSpPr>
          <p:nvPr/>
        </p:nvSpPr>
        <p:spPr bwMode="auto">
          <a:xfrm>
            <a:off x="573088" y="573088"/>
            <a:ext cx="8074025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accent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algn="l"/>
            <a:r>
              <a:rPr lang="de-DE" sz="1800" dirty="0">
                <a:solidFill>
                  <a:schemeClr val="bg1"/>
                </a:solidFill>
              </a:rPr>
              <a:t>Projektdefinition</a:t>
            </a:r>
          </a:p>
        </p:txBody>
      </p:sp>
      <p:sp>
        <p:nvSpPr>
          <p:cNvPr id="7" name="Textplatzhalter 5">
            <a:extLst>
              <a:ext uri="{FF2B5EF4-FFF2-40B4-BE49-F238E27FC236}">
                <a16:creationId xmlns:a16="http://schemas.microsoft.com/office/drawing/2014/main" id="{338621B7-CE6A-4E38-A4FC-0F8D896BCDD6}"/>
              </a:ext>
            </a:extLst>
          </p:cNvPr>
          <p:cNvSpPr txBox="1">
            <a:spLocks/>
          </p:cNvSpPr>
          <p:nvPr/>
        </p:nvSpPr>
        <p:spPr bwMode="auto">
          <a:xfrm>
            <a:off x="573087" y="3631720"/>
            <a:ext cx="8074025" cy="613775"/>
          </a:xfrm>
          <a:prstGeom prst="rect">
            <a:avLst/>
          </a:prstGeom>
          <a:noFill/>
          <a:ln>
            <a:noFill/>
          </a:ln>
          <a:effectLst/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None/>
              <a:defRPr sz="1800" b="1">
                <a:solidFill>
                  <a:schemeClr val="accent6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79413" indent="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None/>
              <a:defRPr sz="1600">
                <a:solidFill>
                  <a:schemeClr val="tx1"/>
                </a:solidFill>
                <a:latin typeface="+mn-lt"/>
                <a:ea typeface="+mn-ea"/>
              </a:defRPr>
            </a:lvl2pPr>
            <a:lvl3pPr marL="855663" indent="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None/>
              <a:defRPr sz="1600">
                <a:solidFill>
                  <a:schemeClr val="tx1"/>
                </a:solidFill>
                <a:latin typeface="+mn-lt"/>
                <a:ea typeface="+mn-ea"/>
              </a:defRPr>
            </a:lvl3pPr>
            <a:lvl4pPr marL="1274763" indent="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None/>
              <a:defRPr sz="1600">
                <a:solidFill>
                  <a:schemeClr val="tx1"/>
                </a:solidFill>
                <a:latin typeface="+mn-lt"/>
                <a:ea typeface="+mn-ea"/>
              </a:defRPr>
            </a:lvl4pPr>
            <a:lvl5pPr marL="1693863" indent="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None/>
              <a:defRPr sz="1600">
                <a:solidFill>
                  <a:schemeClr val="tx1"/>
                </a:solidFill>
                <a:latin typeface="+mn-lt"/>
                <a:ea typeface="+mn-ea"/>
              </a:defRPr>
            </a:lvl5pPr>
            <a:lvl6pPr marL="23796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6pPr>
            <a:lvl7pPr marL="28368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7pPr>
            <a:lvl8pPr marL="32940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8pPr>
            <a:lvl9pPr marL="37512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r>
              <a:rPr lang="de-DE" kern="0" dirty="0"/>
              <a:t>Risiken</a:t>
            </a:r>
          </a:p>
        </p:txBody>
      </p:sp>
      <p:sp>
        <p:nvSpPr>
          <p:cNvPr id="13" name="Inhaltsplatzhalter 2">
            <a:extLst>
              <a:ext uri="{FF2B5EF4-FFF2-40B4-BE49-F238E27FC236}">
                <a16:creationId xmlns:a16="http://schemas.microsoft.com/office/drawing/2014/main" id="{0A9D4812-C3AB-4CA8-9030-61C9F0D731C4}"/>
              </a:ext>
            </a:extLst>
          </p:cNvPr>
          <p:cNvSpPr txBox="1">
            <a:spLocks/>
          </p:cNvSpPr>
          <p:nvPr/>
        </p:nvSpPr>
        <p:spPr bwMode="auto">
          <a:xfrm>
            <a:off x="569706" y="4176488"/>
            <a:ext cx="7951481" cy="1810247"/>
          </a:xfrm>
          <a:prstGeom prst="rect">
            <a:avLst/>
          </a:prstGeom>
          <a:noFill/>
          <a:ln>
            <a:solidFill>
              <a:schemeClr val="tx1"/>
            </a:solidFill>
          </a:ln>
          <a:effectLst/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88913" indent="-188913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65163" indent="-28575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2000">
                <a:solidFill>
                  <a:schemeClr val="tx1"/>
                </a:solidFill>
                <a:latin typeface="+mn-lt"/>
                <a:ea typeface="+mn-ea"/>
              </a:defRPr>
            </a:lvl2pPr>
            <a:lvl3pPr marL="10842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2000">
                <a:solidFill>
                  <a:schemeClr val="tx1"/>
                </a:solidFill>
                <a:latin typeface="+mn-lt"/>
                <a:ea typeface="+mn-ea"/>
              </a:defRPr>
            </a:lvl3pPr>
            <a:lvl4pPr marL="15033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2000">
                <a:solidFill>
                  <a:schemeClr val="tx1"/>
                </a:solidFill>
                <a:latin typeface="+mn-lt"/>
                <a:ea typeface="+mn-ea"/>
              </a:defRPr>
            </a:lvl4pPr>
            <a:lvl5pPr marL="19224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2000">
                <a:solidFill>
                  <a:schemeClr val="tx1"/>
                </a:solidFill>
                <a:latin typeface="+mn-lt"/>
                <a:ea typeface="+mn-ea"/>
              </a:defRPr>
            </a:lvl5pPr>
            <a:lvl6pPr marL="23796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6pPr>
            <a:lvl7pPr marL="28368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7pPr>
            <a:lvl8pPr marL="32940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8pPr>
            <a:lvl9pPr marL="37512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>
              <a:lnSpc>
                <a:spcPct val="150000"/>
              </a:lnSpc>
            </a:pPr>
            <a:r>
              <a:rPr lang="de-DE" sz="1050" kern="0" dirty="0"/>
              <a:t>Keine Kommunikation der Projektteilnehmer</a:t>
            </a:r>
          </a:p>
          <a:p>
            <a:pPr>
              <a:lnSpc>
                <a:spcPct val="150000"/>
              </a:lnSpc>
            </a:pPr>
            <a:r>
              <a:rPr lang="de-DE" sz="1050" kern="0" dirty="0"/>
              <a:t>Unzuverlässigkeit der Projektteilnehmer</a:t>
            </a:r>
          </a:p>
          <a:p>
            <a:pPr>
              <a:lnSpc>
                <a:spcPct val="150000"/>
              </a:lnSpc>
            </a:pPr>
            <a:r>
              <a:rPr lang="de-DE" sz="1050" kern="0" dirty="0"/>
              <a:t>Zeitliche Überlastung der Projektteilnehmer</a:t>
            </a:r>
          </a:p>
          <a:p>
            <a:pPr>
              <a:lnSpc>
                <a:spcPct val="150000"/>
              </a:lnSpc>
            </a:pPr>
            <a:r>
              <a:rPr lang="de-DE" sz="1050" kern="0" dirty="0"/>
              <a:t>Mangel an Validen Daten</a:t>
            </a:r>
          </a:p>
          <a:p>
            <a:pPr>
              <a:lnSpc>
                <a:spcPct val="150000"/>
              </a:lnSpc>
            </a:pPr>
            <a:r>
              <a:rPr lang="de-DE" sz="1050" kern="0" dirty="0"/>
              <a:t>Fehler bei der Umsetzung der Software</a:t>
            </a:r>
          </a:p>
          <a:p>
            <a:pPr>
              <a:lnSpc>
                <a:spcPct val="150000"/>
              </a:lnSpc>
            </a:pPr>
            <a:r>
              <a:rPr lang="de-DE" sz="1050" kern="0" dirty="0"/>
              <a:t>Überschreitung der Abgabefrist</a:t>
            </a:r>
          </a:p>
          <a:p>
            <a:pPr>
              <a:lnSpc>
                <a:spcPct val="150000"/>
              </a:lnSpc>
            </a:pPr>
            <a:endParaRPr lang="de-DE" sz="1200" kern="0" dirty="0"/>
          </a:p>
          <a:p>
            <a:endParaRPr lang="de-DE" sz="1800" kern="0" dirty="0"/>
          </a:p>
        </p:txBody>
      </p:sp>
      <p:sp>
        <p:nvSpPr>
          <p:cNvPr id="8" name="Inhaltsplatzhalter 2">
            <a:extLst>
              <a:ext uri="{FF2B5EF4-FFF2-40B4-BE49-F238E27FC236}">
                <a16:creationId xmlns:a16="http://schemas.microsoft.com/office/drawing/2014/main" id="{CC454AD2-4641-4CF6-AD1E-5804A160DFE1}"/>
              </a:ext>
            </a:extLst>
          </p:cNvPr>
          <p:cNvSpPr txBox="1">
            <a:spLocks/>
          </p:cNvSpPr>
          <p:nvPr/>
        </p:nvSpPr>
        <p:spPr bwMode="auto">
          <a:xfrm>
            <a:off x="4572000" y="4176488"/>
            <a:ext cx="3949187" cy="1810247"/>
          </a:xfrm>
          <a:prstGeom prst="rect">
            <a:avLst/>
          </a:prstGeom>
          <a:noFill/>
          <a:ln>
            <a:solidFill>
              <a:schemeClr val="tx1"/>
            </a:solidFill>
          </a:ln>
          <a:effectLst/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88913" indent="-188913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65163" indent="-28575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2000">
                <a:solidFill>
                  <a:schemeClr val="tx1"/>
                </a:solidFill>
                <a:latin typeface="+mn-lt"/>
                <a:ea typeface="+mn-ea"/>
              </a:defRPr>
            </a:lvl2pPr>
            <a:lvl3pPr marL="10842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2000">
                <a:solidFill>
                  <a:schemeClr val="tx1"/>
                </a:solidFill>
                <a:latin typeface="+mn-lt"/>
                <a:ea typeface="+mn-ea"/>
              </a:defRPr>
            </a:lvl3pPr>
            <a:lvl4pPr marL="15033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2000">
                <a:solidFill>
                  <a:schemeClr val="tx1"/>
                </a:solidFill>
                <a:latin typeface="+mn-lt"/>
                <a:ea typeface="+mn-ea"/>
              </a:defRPr>
            </a:lvl4pPr>
            <a:lvl5pPr marL="19224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2000">
                <a:solidFill>
                  <a:schemeClr val="tx1"/>
                </a:solidFill>
                <a:latin typeface="+mn-lt"/>
                <a:ea typeface="+mn-ea"/>
              </a:defRPr>
            </a:lvl5pPr>
            <a:lvl6pPr marL="23796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6pPr>
            <a:lvl7pPr marL="28368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7pPr>
            <a:lvl8pPr marL="32940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8pPr>
            <a:lvl9pPr marL="37512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>
              <a:lnSpc>
                <a:spcPct val="150000"/>
              </a:lnSpc>
            </a:pPr>
            <a:r>
              <a:rPr lang="de-DE" sz="1050" kern="0" dirty="0"/>
              <a:t>Mangelhafte Auswahlkriterien</a:t>
            </a:r>
          </a:p>
          <a:p>
            <a:pPr>
              <a:lnSpc>
                <a:spcPct val="150000"/>
              </a:lnSpc>
            </a:pPr>
            <a:r>
              <a:rPr lang="de-DE" sz="1050" kern="0" dirty="0"/>
              <a:t>Mangelhafte Benutzerfreundlichkeit</a:t>
            </a:r>
          </a:p>
          <a:p>
            <a:pPr>
              <a:lnSpc>
                <a:spcPct val="150000"/>
              </a:lnSpc>
            </a:pPr>
            <a:r>
              <a:rPr lang="de-DE" sz="1050" kern="0" dirty="0"/>
              <a:t>Mangelhafte Dokumentation</a:t>
            </a:r>
          </a:p>
          <a:p>
            <a:pPr>
              <a:lnSpc>
                <a:spcPct val="150000"/>
              </a:lnSpc>
            </a:pPr>
            <a:endParaRPr lang="de-DE" sz="1050" kern="0" dirty="0"/>
          </a:p>
          <a:p>
            <a:pPr>
              <a:lnSpc>
                <a:spcPct val="150000"/>
              </a:lnSpc>
            </a:pPr>
            <a:endParaRPr lang="de-DE" sz="1200" kern="0" dirty="0"/>
          </a:p>
          <a:p>
            <a:endParaRPr lang="de-DE" sz="1800" kern="0" dirty="0"/>
          </a:p>
        </p:txBody>
      </p:sp>
    </p:spTree>
    <p:extLst>
      <p:ext uri="{BB962C8B-B14F-4D97-AF65-F5344CB8AC3E}">
        <p14:creationId xmlns:p14="http://schemas.microsoft.com/office/powerpoint/2010/main" val="1635609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2"/>
          <p:cNvSpPr>
            <a:spLocks noGrp="1" noChangeArrowheads="1"/>
          </p:cNvSpPr>
          <p:nvPr>
            <p:ph type="title"/>
          </p:nvPr>
        </p:nvSpPr>
        <p:spPr>
          <a:xfrm>
            <a:off x="573088" y="181219"/>
            <a:ext cx="8074025" cy="384721"/>
          </a:xfrm>
        </p:spPr>
        <p:txBody>
          <a:bodyPr/>
          <a:lstStyle/>
          <a:p>
            <a:r>
              <a:rPr lang="de-DE" sz="2500" kern="1200" dirty="0"/>
              <a:t>Klassifizierung am Beispiel Elektrofahrzeug</a:t>
            </a:r>
            <a:endParaRPr lang="de-DE" dirty="0"/>
          </a:p>
        </p:txBody>
      </p:sp>
      <p:sp>
        <p:nvSpPr>
          <p:cNvPr id="12" name="Text Box 4"/>
          <p:cNvSpPr txBox="1">
            <a:spLocks noChangeArrowheads="1"/>
          </p:cNvSpPr>
          <p:nvPr/>
        </p:nvSpPr>
        <p:spPr bwMode="auto">
          <a:xfrm>
            <a:off x="573088" y="573088"/>
            <a:ext cx="8074025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accent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algn="l"/>
            <a:r>
              <a:rPr lang="de-DE" sz="1800" dirty="0">
                <a:solidFill>
                  <a:schemeClr val="bg1"/>
                </a:solidFill>
              </a:rPr>
              <a:t>Projektphasen</a:t>
            </a: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52D0B4F8-0839-4377-B76C-D03DDB2250F1}"/>
              </a:ext>
            </a:extLst>
          </p:cNvPr>
          <p:cNvSpPr txBox="1"/>
          <p:nvPr/>
        </p:nvSpPr>
        <p:spPr>
          <a:xfrm>
            <a:off x="6708979" y="1694203"/>
            <a:ext cx="1296144" cy="1661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de-DE" sz="1200" b="1" dirty="0">
                <a:solidFill>
                  <a:srgbClr val="00B0F0"/>
                </a:solidFill>
                <a:latin typeface="+mn-lt"/>
              </a:rPr>
              <a:t>Heute</a:t>
            </a:r>
            <a:endParaRPr lang="de-DE" sz="1600" b="1" dirty="0">
              <a:solidFill>
                <a:srgbClr val="00B0F0"/>
              </a:solidFill>
              <a:latin typeface="+mn-lt"/>
            </a:endParaRP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372322B6-FA06-4A7B-91B1-A3B63A81467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5696" y="1949336"/>
            <a:ext cx="8401769" cy="2959327"/>
          </a:xfrm>
          <a:prstGeom prst="rect">
            <a:avLst/>
          </a:prstGeom>
        </p:spPr>
      </p:pic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7515589A-A287-4E51-A79E-07D8C7D177E8}"/>
              </a:ext>
            </a:extLst>
          </p:cNvPr>
          <p:cNvCxnSpPr>
            <a:cxnSpLocks/>
          </p:cNvCxnSpPr>
          <p:nvPr/>
        </p:nvCxnSpPr>
        <p:spPr>
          <a:xfrm>
            <a:off x="7357051" y="1882495"/>
            <a:ext cx="0" cy="3180335"/>
          </a:xfrm>
          <a:prstGeom prst="line">
            <a:avLst/>
          </a:prstGeom>
          <a:ln w="19050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651094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2"/>
          <p:cNvSpPr>
            <a:spLocks noGrp="1" noChangeArrowheads="1"/>
          </p:cNvSpPr>
          <p:nvPr>
            <p:ph type="title"/>
          </p:nvPr>
        </p:nvSpPr>
        <p:spPr>
          <a:xfrm>
            <a:off x="573088" y="181219"/>
            <a:ext cx="8074025" cy="384721"/>
          </a:xfrm>
        </p:spPr>
        <p:txBody>
          <a:bodyPr/>
          <a:lstStyle/>
          <a:p>
            <a:r>
              <a:rPr lang="de-DE" sz="2500" kern="1200" dirty="0"/>
              <a:t>Klassifizierung am Beispiel Elektrofahrzeug</a:t>
            </a:r>
            <a:endParaRPr lang="de-DE" dirty="0"/>
          </a:p>
        </p:txBody>
      </p:sp>
      <p:sp>
        <p:nvSpPr>
          <p:cNvPr id="12" name="Text Box 4"/>
          <p:cNvSpPr txBox="1">
            <a:spLocks noChangeArrowheads="1"/>
          </p:cNvSpPr>
          <p:nvPr/>
        </p:nvSpPr>
        <p:spPr bwMode="auto">
          <a:xfrm>
            <a:off x="573088" y="573088"/>
            <a:ext cx="8074025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accent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algn="l"/>
            <a:r>
              <a:rPr lang="de-DE" sz="1800" dirty="0">
                <a:solidFill>
                  <a:schemeClr val="bg1"/>
                </a:solidFill>
              </a:rPr>
              <a:t>Projektaktivitäten</a:t>
            </a:r>
          </a:p>
        </p:txBody>
      </p:sp>
      <p:graphicFrame>
        <p:nvGraphicFramePr>
          <p:cNvPr id="4" name="Tabel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20276498"/>
              </p:ext>
            </p:extLst>
          </p:nvPr>
        </p:nvGraphicFramePr>
        <p:xfrm>
          <a:off x="500331" y="1586783"/>
          <a:ext cx="8138157" cy="39979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53752">
                  <a:extLst>
                    <a:ext uri="{9D8B030D-6E8A-4147-A177-3AD203B41FA5}">
                      <a16:colId xmlns:a16="http://schemas.microsoft.com/office/drawing/2014/main" val="1244117558"/>
                    </a:ext>
                  </a:extLst>
                </a:gridCol>
                <a:gridCol w="1639019">
                  <a:extLst>
                    <a:ext uri="{9D8B030D-6E8A-4147-A177-3AD203B41FA5}">
                      <a16:colId xmlns:a16="http://schemas.microsoft.com/office/drawing/2014/main" val="1111106065"/>
                    </a:ext>
                  </a:extLst>
                </a:gridCol>
                <a:gridCol w="1725283">
                  <a:extLst>
                    <a:ext uri="{9D8B030D-6E8A-4147-A177-3AD203B41FA5}">
                      <a16:colId xmlns:a16="http://schemas.microsoft.com/office/drawing/2014/main" val="1427106432"/>
                    </a:ext>
                  </a:extLst>
                </a:gridCol>
                <a:gridCol w="924750">
                  <a:extLst>
                    <a:ext uri="{9D8B030D-6E8A-4147-A177-3AD203B41FA5}">
                      <a16:colId xmlns:a16="http://schemas.microsoft.com/office/drawing/2014/main" val="3183141821"/>
                    </a:ext>
                  </a:extLst>
                </a:gridCol>
                <a:gridCol w="795353">
                  <a:extLst>
                    <a:ext uri="{9D8B030D-6E8A-4147-A177-3AD203B41FA5}">
                      <a16:colId xmlns:a16="http://schemas.microsoft.com/office/drawing/2014/main" val="301342498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de-DE" sz="1400" dirty="0">
                          <a:solidFill>
                            <a:schemeClr val="tx1"/>
                          </a:solidFill>
                        </a:rPr>
                        <a:t>Aufgaben / Teilaufgabe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>
                          <a:solidFill>
                            <a:schemeClr val="tx1"/>
                          </a:solidFill>
                        </a:rPr>
                        <a:t>Verantwortlich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>
                          <a:solidFill>
                            <a:schemeClr val="tx1"/>
                          </a:solidFill>
                        </a:rPr>
                        <a:t>Fälligkeit</a:t>
                      </a:r>
                    </a:p>
                  </a:txBody>
                  <a:tcPr anchor="ctr"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de-DE" sz="1400" dirty="0">
                          <a:solidFill>
                            <a:schemeClr val="tx1"/>
                          </a:solidFill>
                        </a:rPr>
                        <a:t>Status</a:t>
                      </a: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67054823"/>
                  </a:ext>
                </a:extLst>
              </a:tr>
              <a:tr h="257071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b="0" i="0" u="none" strike="noStrike" dirty="0">
                          <a:latin typeface="TKTypeMedium"/>
                        </a:rPr>
                        <a:t>Kriterien auswähle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b="0" i="0" u="none" strike="noStrike" dirty="0">
                          <a:latin typeface="TKTypeMedium"/>
                        </a:rPr>
                        <a:t>Projektteam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b="0" i="0" u="none" strike="noStrike" dirty="0">
                          <a:latin typeface="TKTypeMedium"/>
                        </a:rPr>
                        <a:t>KW 44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100" dirty="0">
                          <a:solidFill>
                            <a:schemeClr val="tx1"/>
                          </a:solidFill>
                        </a:rPr>
                        <a:t>Erledig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44985513"/>
                  </a:ext>
                </a:extLst>
              </a:tr>
              <a:tr h="181517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b="0" i="0" u="none" strike="noStrike" dirty="0">
                          <a:latin typeface="TKTypeMedium"/>
                        </a:rPr>
                        <a:t>Kriterien suche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b="0" i="0" u="none" strike="noStrike" dirty="0">
                          <a:latin typeface="TKTypeMedium"/>
                        </a:rPr>
                        <a:t>Projektteam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b="0" i="0" u="none" strike="noStrike" dirty="0">
                          <a:latin typeface="TKTypeMedium"/>
                        </a:rPr>
                        <a:t>KW 44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100" dirty="0">
                          <a:solidFill>
                            <a:schemeClr val="tx1"/>
                          </a:solidFill>
                        </a:rPr>
                        <a:t>Erledig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39366533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b="0" i="0" u="none" strike="noStrike" dirty="0">
                          <a:latin typeface="TKTypeMedium"/>
                        </a:rPr>
                        <a:t>Datengrundlage schaffe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b="0" i="0" u="none" strike="noStrike" dirty="0">
                          <a:latin typeface="TKTypeMedium"/>
                        </a:rPr>
                        <a:t>Projektteam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b="0" i="0" u="none" strike="noStrike" dirty="0">
                          <a:latin typeface="TKTypeMedium"/>
                        </a:rPr>
                        <a:t>KW 44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100" dirty="0">
                          <a:solidFill>
                            <a:schemeClr val="tx1"/>
                          </a:solidFill>
                        </a:rPr>
                        <a:t>Erledig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863021161"/>
                  </a:ext>
                </a:extLst>
              </a:tr>
              <a:tr h="117394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b="0" i="0" u="none" strike="noStrike" dirty="0">
                          <a:latin typeface="TKTypeMedium"/>
                        </a:rPr>
                        <a:t>GitHub repository anlegen zur Versions Kontroll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b="0" i="0" u="none" strike="noStrike" dirty="0">
                          <a:latin typeface="TKTypeMedium"/>
                        </a:rPr>
                        <a:t>Projektteam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b="0" i="0" u="none" strike="noStrike" dirty="0">
                          <a:latin typeface="TKTypeMedium"/>
                        </a:rPr>
                        <a:t>KW 44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100" dirty="0">
                          <a:solidFill>
                            <a:schemeClr val="tx1"/>
                          </a:solidFill>
                        </a:rPr>
                        <a:t>Erledig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123283234"/>
                  </a:ext>
                </a:extLst>
              </a:tr>
              <a:tr h="151929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b="0" i="0" u="none" strike="noStrike" dirty="0">
                          <a:latin typeface="TKTypeMedium"/>
                        </a:rPr>
                        <a:t>Festlegen des Zeitmanagement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b="0" i="0" u="none" strike="noStrike" dirty="0">
                          <a:latin typeface="TKTypeMedium"/>
                        </a:rPr>
                        <a:t>Projektteam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b="0" i="0" u="none" strike="noStrike" dirty="0">
                          <a:latin typeface="TKTypeMedium"/>
                        </a:rPr>
                        <a:t>KW 44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100" dirty="0">
                          <a:solidFill>
                            <a:schemeClr val="tx1"/>
                          </a:solidFill>
                        </a:rPr>
                        <a:t>Erledig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292415935"/>
                  </a:ext>
                </a:extLst>
              </a:tr>
              <a:tr h="144518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b="0" i="0" u="none" strike="noStrike" dirty="0">
                          <a:latin typeface="TKTypeMedium"/>
                        </a:rPr>
                        <a:t>Aufgaben Zuweisung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b="0" i="0" u="none" strike="noStrike" dirty="0">
                          <a:latin typeface="TKTypeMedium"/>
                        </a:rPr>
                        <a:t>Projektteam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b="0" i="0" u="none" strike="noStrike" dirty="0">
                          <a:latin typeface="TKTypeMedium"/>
                        </a:rPr>
                        <a:t>KW 45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100" dirty="0">
                          <a:solidFill>
                            <a:schemeClr val="tx1"/>
                          </a:solidFill>
                        </a:rPr>
                        <a:t>Erledig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450345985"/>
                  </a:ext>
                </a:extLst>
              </a:tr>
              <a:tr h="138227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b="0" i="0" u="none" strike="noStrike" dirty="0">
                          <a:latin typeface="TKTypeMedium"/>
                        </a:rPr>
                        <a:t>Kommunikation steuer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b="0" i="0" u="none" strike="noStrike" dirty="0">
                          <a:latin typeface="TKTypeMedium"/>
                        </a:rPr>
                        <a:t>Projektteam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b="0" i="0" u="none" strike="noStrike" dirty="0">
                          <a:latin typeface="TKTypeMedium"/>
                        </a:rPr>
                        <a:t>KW 45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dirty="0">
                          <a:solidFill>
                            <a:schemeClr val="tx1"/>
                          </a:solidFill>
                        </a:rPr>
                        <a:t>Erledig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142863396"/>
                  </a:ext>
                </a:extLst>
              </a:tr>
              <a:tr h="188421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b="0" i="0" u="none" strike="noStrike" dirty="0">
                          <a:latin typeface="TKTypeMedium"/>
                        </a:rPr>
                        <a:t>Festlegen von Dokumentationsvorschrifte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b="0" i="0" u="none" strike="noStrike" dirty="0">
                          <a:latin typeface="TKTypeMedium"/>
                        </a:rPr>
                        <a:t>Projektteam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b="0" i="0" u="none" strike="noStrike" dirty="0">
                          <a:latin typeface="TKTypeMedium"/>
                        </a:rPr>
                        <a:t>KW 45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dirty="0">
                          <a:solidFill>
                            <a:schemeClr val="tx1"/>
                          </a:solidFill>
                        </a:rPr>
                        <a:t>Erledig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49161222"/>
                  </a:ext>
                </a:extLst>
              </a:tr>
              <a:tr h="119584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b="0" i="0" u="none" strike="noStrike" dirty="0">
                          <a:latin typeface="TKTypeMedium"/>
                        </a:rPr>
                        <a:t>Wie erstelle ich eine Python GUI?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b="0" i="0" u="none" strike="noStrike" dirty="0">
                          <a:latin typeface="TKTypeMedium"/>
                        </a:rPr>
                        <a:t>Sascha Plat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b="0" i="0" u="none" strike="noStrike" dirty="0">
                          <a:latin typeface="TKTypeMedium"/>
                        </a:rPr>
                        <a:t>KW 47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100" dirty="0">
                          <a:solidFill>
                            <a:schemeClr val="tx1"/>
                          </a:solidFill>
                        </a:rPr>
                        <a:t>Erledig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95421669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b="0" i="0" u="none" strike="noStrike" dirty="0">
                          <a:latin typeface="TKTypeMedium"/>
                        </a:rPr>
                        <a:t>Wie erstelle ich eine Python exe?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b="0" i="0" u="none" strike="noStrike" dirty="0">
                          <a:latin typeface="TKTypeMedium"/>
                        </a:rPr>
                        <a:t>Williams </a:t>
                      </a:r>
                      <a:r>
                        <a:rPr lang="de-DE" sz="1100" b="0" i="0" u="none" strike="noStrike" dirty="0" err="1">
                          <a:latin typeface="TKTypeMedium"/>
                        </a:rPr>
                        <a:t>Woutakno</a:t>
                      </a:r>
                      <a:endParaRPr lang="de-DE" sz="1100" b="0" i="0" u="none" strike="noStrike" dirty="0">
                        <a:latin typeface="TKTypeMedium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b="0" i="0" u="none" strike="noStrike" dirty="0">
                          <a:latin typeface="TKTypeMedium"/>
                        </a:rPr>
                        <a:t>KW 47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100" dirty="0">
                          <a:solidFill>
                            <a:schemeClr val="tx1"/>
                          </a:solidFill>
                        </a:rPr>
                        <a:t>Erledig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716517626"/>
                  </a:ext>
                </a:extLst>
              </a:tr>
              <a:tr h="149412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b="0" i="0" u="none" strike="noStrike" dirty="0">
                          <a:latin typeface="TKTypeMedium"/>
                        </a:rPr>
                        <a:t>Wie designe ich den Python Algorithmus?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b="0" i="0" u="none" strike="noStrike" dirty="0">
                          <a:latin typeface="TKTypeMedium"/>
                        </a:rPr>
                        <a:t>Timo Frank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b="0" i="0" u="none" strike="noStrike" dirty="0">
                          <a:latin typeface="TKTypeMedium"/>
                        </a:rPr>
                        <a:t>KW 47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100" dirty="0">
                          <a:solidFill>
                            <a:schemeClr val="tx1"/>
                          </a:solidFill>
                        </a:rPr>
                        <a:t>Erledig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87986741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b="0" i="0" u="none" strike="noStrike" dirty="0">
                          <a:latin typeface="TKTypeMedium"/>
                        </a:rPr>
                        <a:t>Erstellen der Python GUI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b="0" i="0" u="none" strike="noStrike" dirty="0">
                          <a:latin typeface="TKTypeMedium"/>
                        </a:rPr>
                        <a:t>Sascha Plat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b="0" i="0" u="none" strike="noStrike" dirty="0">
                          <a:latin typeface="TKTypeMedium"/>
                        </a:rPr>
                        <a:t>KW 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dirty="0">
                          <a:solidFill>
                            <a:schemeClr val="tx1"/>
                          </a:solidFill>
                        </a:rPr>
                        <a:t>offe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09525119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b="0" i="0" u="none" strike="noStrike" dirty="0">
                          <a:latin typeface="TKTypeMedium"/>
                        </a:rPr>
                        <a:t>Erstellen der Python ex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b="0" i="0" u="none" strike="noStrike" dirty="0">
                          <a:latin typeface="TKTypeMedium"/>
                        </a:rPr>
                        <a:t>Williams </a:t>
                      </a:r>
                      <a:r>
                        <a:rPr lang="de-DE" sz="1100" b="0" i="0" u="none" strike="noStrike" dirty="0" err="1">
                          <a:latin typeface="TKTypeMedium"/>
                        </a:rPr>
                        <a:t>Woutakno</a:t>
                      </a:r>
                      <a:endParaRPr lang="de-DE" sz="1100" b="0" i="0" u="none" strike="noStrike" dirty="0">
                        <a:latin typeface="TKTypeMedium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b="0" i="0" u="none" strike="noStrike" dirty="0">
                          <a:latin typeface="TKTypeMedium"/>
                        </a:rPr>
                        <a:t>KW 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dirty="0">
                          <a:solidFill>
                            <a:schemeClr val="tx1"/>
                          </a:solidFill>
                        </a:rPr>
                        <a:t>offe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16518257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b="0" i="0" u="none" strike="noStrike" dirty="0">
                          <a:latin typeface="TKTypeMedium"/>
                        </a:rPr>
                        <a:t>Erstellen des Python Algorithmu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b="0" i="0" u="none" strike="noStrike" dirty="0">
                          <a:latin typeface="TKTypeMedium"/>
                        </a:rPr>
                        <a:t>Timo Frank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b="0" i="0" u="none" strike="noStrike" dirty="0">
                          <a:latin typeface="TKTypeMedium"/>
                        </a:rPr>
                        <a:t>KW 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dirty="0">
                          <a:solidFill>
                            <a:schemeClr val="tx1"/>
                          </a:solidFill>
                        </a:rPr>
                        <a:t>offe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746011754"/>
                  </a:ext>
                </a:extLst>
              </a:tr>
            </a:tbl>
          </a:graphicData>
        </a:graphic>
      </p:graphicFrame>
      <p:grpSp>
        <p:nvGrpSpPr>
          <p:cNvPr id="14" name="Gruppieren 13"/>
          <p:cNvGrpSpPr/>
          <p:nvPr/>
        </p:nvGrpSpPr>
        <p:grpSpPr>
          <a:xfrm>
            <a:off x="4321968" y="5954577"/>
            <a:ext cx="500063" cy="157162"/>
            <a:chOff x="285750" y="5690627"/>
            <a:chExt cx="500063" cy="157162"/>
          </a:xfrm>
        </p:grpSpPr>
        <p:sp>
          <p:nvSpPr>
            <p:cNvPr id="15" name="desk1"/>
            <p:cNvSpPr>
              <a:spLocks noChangeAspect="1" noEditPoints="1" noChangeArrowheads="1"/>
            </p:cNvSpPr>
            <p:nvPr>
              <p:custDataLst>
                <p:tags r:id="rId65"/>
              </p:custDataLst>
            </p:nvPr>
          </p:nvSpPr>
          <p:spPr bwMode="auto">
            <a:xfrm>
              <a:off x="285750" y="5690627"/>
              <a:ext cx="500063" cy="157162"/>
            </a:xfrm>
            <a:custGeom>
              <a:avLst/>
              <a:gdLst>
                <a:gd name="T0" fmla="*/ 0 w 21600"/>
                <a:gd name="T1" fmla="*/ 0 h 21600"/>
                <a:gd name="T2" fmla="*/ 2147483647 w 21600"/>
                <a:gd name="T3" fmla="*/ 0 h 21600"/>
                <a:gd name="T4" fmla="*/ 2147483647 w 21600"/>
                <a:gd name="T5" fmla="*/ 2147483647 h 21600"/>
                <a:gd name="T6" fmla="*/ 0 w 21600"/>
                <a:gd name="T7" fmla="*/ 2147483647 h 21600"/>
                <a:gd name="T8" fmla="*/ 2147483647 w 21600"/>
                <a:gd name="T9" fmla="*/ 0 h 21600"/>
                <a:gd name="T10" fmla="*/ 2147483647 w 21600"/>
                <a:gd name="T11" fmla="*/ 2147483647 h 21600"/>
                <a:gd name="T12" fmla="*/ 2147483647 w 21600"/>
                <a:gd name="T13" fmla="*/ 2147483647 h 21600"/>
                <a:gd name="T14" fmla="*/ 0 w 21600"/>
                <a:gd name="T15" fmla="*/ 2147483647 h 2160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1000 w 21600"/>
                <a:gd name="T25" fmla="*/ 1000 h 21600"/>
                <a:gd name="T26" fmla="*/ 20600 w 21600"/>
                <a:gd name="T27" fmla="*/ 20600 h 21600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1600" h="21600">
                  <a:moveTo>
                    <a:pt x="0" y="0"/>
                  </a:moveTo>
                  <a:lnTo>
                    <a:pt x="21600" y="0"/>
                  </a:lnTo>
                  <a:lnTo>
                    <a:pt x="21600" y="21600"/>
                  </a:lnTo>
                  <a:lnTo>
                    <a:pt x="0" y="21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0E1DF"/>
            </a:solidFill>
            <a:ln w="3175">
              <a:solidFill>
                <a:srgbClr val="A2A3A5"/>
              </a:solidFill>
              <a:miter lim="800000"/>
              <a:headEnd/>
              <a:tailEnd/>
            </a:ln>
          </p:spPr>
          <p:txBody>
            <a:bodyPr lIns="91413" tIns="45709" rIns="91413" bIns="45709"/>
            <a:lstStyle/>
            <a:p>
              <a:endParaRPr lang="de-DE"/>
            </a:p>
          </p:txBody>
        </p:sp>
        <p:sp>
          <p:nvSpPr>
            <p:cNvPr id="16" name="Oval 19"/>
            <p:cNvSpPr>
              <a:spLocks noChangeAspect="1" noChangeArrowheads="1"/>
            </p:cNvSpPr>
            <p:nvPr>
              <p:custDataLst>
                <p:tags r:id="rId66"/>
              </p:custDataLst>
            </p:nvPr>
          </p:nvSpPr>
          <p:spPr bwMode="auto">
            <a:xfrm rot="5400000">
              <a:off x="325438" y="5716026"/>
              <a:ext cx="109538" cy="106363"/>
            </a:xfrm>
            <a:prstGeom prst="ellipse">
              <a:avLst/>
            </a:prstGeom>
            <a:gradFill rotWithShape="1">
              <a:gsLst>
                <a:gs pos="0">
                  <a:srgbClr val="E6E6E6"/>
                </a:gs>
                <a:gs pos="100000">
                  <a:srgbClr val="979797"/>
                </a:gs>
              </a:gsLst>
              <a:lin ang="2700000" scaled="1"/>
            </a:gradFill>
            <a:ln w="6350" algn="ctr">
              <a:solidFill>
                <a:srgbClr val="808080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rot="10800000" vert="eaVert"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17" name="Oval 49"/>
            <p:cNvSpPr>
              <a:spLocks noChangeAspect="1" noChangeArrowheads="1"/>
            </p:cNvSpPr>
            <p:nvPr>
              <p:custDataLst>
                <p:tags r:id="rId67"/>
              </p:custDataLst>
            </p:nvPr>
          </p:nvSpPr>
          <p:spPr bwMode="auto">
            <a:xfrm rot="5400000">
              <a:off x="605631" y="5715233"/>
              <a:ext cx="109538" cy="107950"/>
            </a:xfrm>
            <a:prstGeom prst="ellipse">
              <a:avLst/>
            </a:prstGeom>
            <a:gradFill rotWithShape="1">
              <a:gsLst>
                <a:gs pos="0">
                  <a:srgbClr val="00FE00"/>
                </a:gs>
                <a:gs pos="100000">
                  <a:srgbClr val="00A600"/>
                </a:gs>
              </a:gsLst>
              <a:lin ang="2700000" scaled="1"/>
            </a:gradFill>
            <a:ln w="6350" algn="ctr">
              <a:solidFill>
                <a:srgbClr val="333333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18" name="Oval 49"/>
            <p:cNvSpPr>
              <a:spLocks noChangeAspect="1" noChangeArrowheads="1"/>
            </p:cNvSpPr>
            <p:nvPr>
              <p:custDataLst>
                <p:tags r:id="rId68"/>
              </p:custDataLst>
            </p:nvPr>
          </p:nvSpPr>
          <p:spPr bwMode="auto">
            <a:xfrm rot="5400000">
              <a:off x="466725" y="5716027"/>
              <a:ext cx="109538" cy="106362"/>
            </a:xfrm>
            <a:prstGeom prst="ellipse">
              <a:avLst/>
            </a:prstGeom>
            <a:gradFill rotWithShape="1">
              <a:gsLst>
                <a:gs pos="0">
                  <a:srgbClr val="E6E6E6"/>
                </a:gs>
                <a:gs pos="100000">
                  <a:srgbClr val="979797"/>
                </a:gs>
              </a:gsLst>
              <a:lin ang="2700000" scaled="1"/>
            </a:gradFill>
            <a:ln w="6350" algn="ctr">
              <a:solidFill>
                <a:srgbClr val="808080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rot="10800000" vert="eaVert"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</p:grpSp>
      <p:grpSp>
        <p:nvGrpSpPr>
          <p:cNvPr id="19" name="Gruppieren 48"/>
          <p:cNvGrpSpPr>
            <a:grpSpLocks/>
          </p:cNvGrpSpPr>
          <p:nvPr/>
        </p:nvGrpSpPr>
        <p:grpSpPr bwMode="auto">
          <a:xfrm>
            <a:off x="4323158" y="6231532"/>
            <a:ext cx="500063" cy="157162"/>
            <a:chOff x="2786050" y="5694380"/>
            <a:chExt cx="500066" cy="157145"/>
          </a:xfrm>
        </p:grpSpPr>
        <p:sp>
          <p:nvSpPr>
            <p:cNvPr id="20" name="desk1"/>
            <p:cNvSpPr>
              <a:spLocks noChangeAspect="1" noEditPoints="1" noChangeArrowheads="1"/>
            </p:cNvSpPr>
            <p:nvPr>
              <p:custDataLst>
                <p:tags r:id="rId61"/>
              </p:custDataLst>
            </p:nvPr>
          </p:nvSpPr>
          <p:spPr bwMode="auto">
            <a:xfrm>
              <a:off x="2786050" y="5694380"/>
              <a:ext cx="500066" cy="157145"/>
            </a:xfrm>
            <a:custGeom>
              <a:avLst/>
              <a:gdLst>
                <a:gd name="T0" fmla="*/ 0 w 21600"/>
                <a:gd name="T1" fmla="*/ 0 h 21600"/>
                <a:gd name="T2" fmla="*/ 2147483647 w 21600"/>
                <a:gd name="T3" fmla="*/ 0 h 21600"/>
                <a:gd name="T4" fmla="*/ 2147483647 w 21600"/>
                <a:gd name="T5" fmla="*/ 2147483647 h 21600"/>
                <a:gd name="T6" fmla="*/ 0 w 21600"/>
                <a:gd name="T7" fmla="*/ 2147483647 h 21600"/>
                <a:gd name="T8" fmla="*/ 2147483647 w 21600"/>
                <a:gd name="T9" fmla="*/ 0 h 21600"/>
                <a:gd name="T10" fmla="*/ 2147483647 w 21600"/>
                <a:gd name="T11" fmla="*/ 2147483647 h 21600"/>
                <a:gd name="T12" fmla="*/ 2147483647 w 21600"/>
                <a:gd name="T13" fmla="*/ 2147483647 h 21600"/>
                <a:gd name="T14" fmla="*/ 0 w 21600"/>
                <a:gd name="T15" fmla="*/ 2147483647 h 2160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1000 w 21600"/>
                <a:gd name="T25" fmla="*/ 1000 h 21600"/>
                <a:gd name="T26" fmla="*/ 20600 w 21600"/>
                <a:gd name="T27" fmla="*/ 20600 h 21600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1600" h="21600">
                  <a:moveTo>
                    <a:pt x="0" y="0"/>
                  </a:moveTo>
                  <a:lnTo>
                    <a:pt x="21600" y="0"/>
                  </a:lnTo>
                  <a:lnTo>
                    <a:pt x="21600" y="21600"/>
                  </a:lnTo>
                  <a:lnTo>
                    <a:pt x="0" y="21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0E1DF"/>
            </a:solidFill>
            <a:ln w="3175">
              <a:solidFill>
                <a:srgbClr val="A2A3A5"/>
              </a:solidFill>
              <a:miter lim="800000"/>
              <a:headEnd/>
              <a:tailEnd/>
            </a:ln>
          </p:spPr>
          <p:txBody>
            <a:bodyPr lIns="91413" tIns="45709" rIns="91413" bIns="45709"/>
            <a:lstStyle/>
            <a:p>
              <a:endParaRPr lang="de-DE"/>
            </a:p>
          </p:txBody>
        </p:sp>
        <p:sp>
          <p:nvSpPr>
            <p:cNvPr id="21" name="Oval 18"/>
            <p:cNvSpPr>
              <a:spLocks noChangeAspect="1" noChangeArrowheads="1"/>
            </p:cNvSpPr>
            <p:nvPr>
              <p:custDataLst>
                <p:tags r:id="rId62"/>
              </p:custDataLst>
            </p:nvPr>
          </p:nvSpPr>
          <p:spPr bwMode="auto">
            <a:xfrm rot="5400000">
              <a:off x="2967032" y="5719771"/>
              <a:ext cx="107938" cy="107951"/>
            </a:xfrm>
            <a:prstGeom prst="ellipse">
              <a:avLst/>
            </a:prstGeom>
            <a:gradFill rotWithShape="1">
              <a:gsLst>
                <a:gs pos="0">
                  <a:srgbClr val="FEFE00"/>
                </a:gs>
                <a:gs pos="100000">
                  <a:srgbClr val="A6A600"/>
                </a:gs>
              </a:gsLst>
              <a:lin ang="2700000" scaled="1"/>
            </a:gradFill>
            <a:ln w="6350" algn="ctr">
              <a:solidFill>
                <a:srgbClr val="333333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22" name="Oval 49"/>
            <p:cNvSpPr>
              <a:spLocks noChangeAspect="1" noChangeArrowheads="1"/>
            </p:cNvSpPr>
            <p:nvPr>
              <p:custDataLst>
                <p:tags r:id="rId63"/>
              </p:custDataLst>
            </p:nvPr>
          </p:nvSpPr>
          <p:spPr bwMode="auto">
            <a:xfrm rot="5400000">
              <a:off x="2826537" y="5718977"/>
              <a:ext cx="109526" cy="107951"/>
            </a:xfrm>
            <a:prstGeom prst="ellipse">
              <a:avLst/>
            </a:prstGeom>
            <a:gradFill rotWithShape="1">
              <a:gsLst>
                <a:gs pos="0">
                  <a:srgbClr val="E6E6E6"/>
                </a:gs>
                <a:gs pos="100000">
                  <a:srgbClr val="979797"/>
                </a:gs>
              </a:gsLst>
              <a:lin ang="2700000" scaled="1"/>
            </a:gradFill>
            <a:ln w="6350" algn="ctr">
              <a:solidFill>
                <a:srgbClr val="808080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rot="10800000" vert="eaVert"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23" name="Oval 49"/>
            <p:cNvSpPr>
              <a:spLocks noChangeAspect="1" noChangeArrowheads="1"/>
            </p:cNvSpPr>
            <p:nvPr>
              <p:custDataLst>
                <p:tags r:id="rId64"/>
              </p:custDataLst>
            </p:nvPr>
          </p:nvSpPr>
          <p:spPr bwMode="auto">
            <a:xfrm rot="5400000">
              <a:off x="3106733" y="5719771"/>
              <a:ext cx="109526" cy="106363"/>
            </a:xfrm>
            <a:prstGeom prst="ellipse">
              <a:avLst/>
            </a:prstGeom>
            <a:gradFill rotWithShape="1">
              <a:gsLst>
                <a:gs pos="0">
                  <a:srgbClr val="E6E6E6"/>
                </a:gs>
                <a:gs pos="100000">
                  <a:srgbClr val="979797"/>
                </a:gs>
              </a:gsLst>
              <a:lin ang="2700000" scaled="1"/>
            </a:gradFill>
            <a:ln w="6350" algn="ctr">
              <a:solidFill>
                <a:srgbClr val="808080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rot="10800000" vert="eaVert"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</p:grpSp>
      <p:grpSp>
        <p:nvGrpSpPr>
          <p:cNvPr id="24" name="Gruppieren 23"/>
          <p:cNvGrpSpPr/>
          <p:nvPr/>
        </p:nvGrpSpPr>
        <p:grpSpPr>
          <a:xfrm>
            <a:off x="4321968" y="6517284"/>
            <a:ext cx="500063" cy="157162"/>
            <a:chOff x="5857875" y="5690627"/>
            <a:chExt cx="500063" cy="157162"/>
          </a:xfrm>
        </p:grpSpPr>
        <p:sp>
          <p:nvSpPr>
            <p:cNvPr id="25" name="desk1"/>
            <p:cNvSpPr>
              <a:spLocks noChangeAspect="1" noEditPoints="1" noChangeArrowheads="1"/>
            </p:cNvSpPr>
            <p:nvPr>
              <p:custDataLst>
                <p:tags r:id="rId57"/>
              </p:custDataLst>
            </p:nvPr>
          </p:nvSpPr>
          <p:spPr bwMode="auto">
            <a:xfrm>
              <a:off x="5857875" y="5690627"/>
              <a:ext cx="500063" cy="157162"/>
            </a:xfrm>
            <a:custGeom>
              <a:avLst/>
              <a:gdLst>
                <a:gd name="T0" fmla="*/ 0 w 21600"/>
                <a:gd name="T1" fmla="*/ 0 h 21600"/>
                <a:gd name="T2" fmla="*/ 2147483647 w 21600"/>
                <a:gd name="T3" fmla="*/ 0 h 21600"/>
                <a:gd name="T4" fmla="*/ 2147483647 w 21600"/>
                <a:gd name="T5" fmla="*/ 2147483647 h 21600"/>
                <a:gd name="T6" fmla="*/ 0 w 21600"/>
                <a:gd name="T7" fmla="*/ 2147483647 h 21600"/>
                <a:gd name="T8" fmla="*/ 2147483647 w 21600"/>
                <a:gd name="T9" fmla="*/ 0 h 21600"/>
                <a:gd name="T10" fmla="*/ 2147483647 w 21600"/>
                <a:gd name="T11" fmla="*/ 2147483647 h 21600"/>
                <a:gd name="T12" fmla="*/ 2147483647 w 21600"/>
                <a:gd name="T13" fmla="*/ 2147483647 h 21600"/>
                <a:gd name="T14" fmla="*/ 0 w 21600"/>
                <a:gd name="T15" fmla="*/ 2147483647 h 2160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1000 w 21600"/>
                <a:gd name="T25" fmla="*/ 1000 h 21600"/>
                <a:gd name="T26" fmla="*/ 20600 w 21600"/>
                <a:gd name="T27" fmla="*/ 20600 h 21600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1600" h="21600">
                  <a:moveTo>
                    <a:pt x="0" y="0"/>
                  </a:moveTo>
                  <a:lnTo>
                    <a:pt x="21600" y="0"/>
                  </a:lnTo>
                  <a:lnTo>
                    <a:pt x="21600" y="21600"/>
                  </a:lnTo>
                  <a:lnTo>
                    <a:pt x="0" y="21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0E1DF"/>
            </a:solidFill>
            <a:ln w="3175">
              <a:solidFill>
                <a:srgbClr val="A2A3A5"/>
              </a:solidFill>
              <a:miter lim="800000"/>
              <a:headEnd/>
              <a:tailEnd/>
            </a:ln>
          </p:spPr>
          <p:txBody>
            <a:bodyPr lIns="91413" tIns="45709" rIns="91413" bIns="45709"/>
            <a:lstStyle/>
            <a:p>
              <a:endParaRPr lang="de-DE"/>
            </a:p>
          </p:txBody>
        </p:sp>
        <p:sp>
          <p:nvSpPr>
            <p:cNvPr id="26" name="Oval 49"/>
            <p:cNvSpPr>
              <a:spLocks noChangeAspect="1" noChangeArrowheads="1"/>
            </p:cNvSpPr>
            <p:nvPr>
              <p:custDataLst>
                <p:tags r:id="rId58"/>
              </p:custDataLst>
            </p:nvPr>
          </p:nvSpPr>
          <p:spPr bwMode="auto">
            <a:xfrm rot="5400000">
              <a:off x="5897563" y="5717614"/>
              <a:ext cx="109537" cy="106363"/>
            </a:xfrm>
            <a:prstGeom prst="ellipse">
              <a:avLst/>
            </a:prstGeom>
            <a:gradFill rotWithShape="1">
              <a:gsLst>
                <a:gs pos="0">
                  <a:srgbClr val="FE0000"/>
                </a:gs>
                <a:gs pos="100000">
                  <a:srgbClr val="A60000"/>
                </a:gs>
              </a:gsLst>
              <a:lin ang="2700000" scaled="1"/>
            </a:gradFill>
            <a:ln w="6350" algn="ctr">
              <a:solidFill>
                <a:srgbClr val="333333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27" name="Oval 49"/>
            <p:cNvSpPr>
              <a:spLocks noChangeAspect="1" noChangeArrowheads="1"/>
            </p:cNvSpPr>
            <p:nvPr>
              <p:custDataLst>
                <p:tags r:id="rId59"/>
              </p:custDataLst>
            </p:nvPr>
          </p:nvSpPr>
          <p:spPr bwMode="auto">
            <a:xfrm rot="5400000">
              <a:off x="6039644" y="5716821"/>
              <a:ext cx="107950" cy="106362"/>
            </a:xfrm>
            <a:prstGeom prst="ellipse">
              <a:avLst/>
            </a:prstGeom>
            <a:gradFill rotWithShape="1">
              <a:gsLst>
                <a:gs pos="0">
                  <a:srgbClr val="E6E6E6"/>
                </a:gs>
                <a:gs pos="100000">
                  <a:srgbClr val="979797"/>
                </a:gs>
              </a:gsLst>
              <a:lin ang="2700000" scaled="1"/>
            </a:gradFill>
            <a:ln w="6350" algn="ctr">
              <a:solidFill>
                <a:srgbClr val="808080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rot="10800000" vert="eaVert"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28" name="Oval 20"/>
            <p:cNvSpPr>
              <a:spLocks noChangeAspect="1" noChangeArrowheads="1"/>
            </p:cNvSpPr>
            <p:nvPr>
              <p:custDataLst>
                <p:tags r:id="rId60"/>
              </p:custDataLst>
            </p:nvPr>
          </p:nvSpPr>
          <p:spPr bwMode="auto">
            <a:xfrm rot="5400000">
              <a:off x="6178550" y="5716027"/>
              <a:ext cx="107950" cy="107950"/>
            </a:xfrm>
            <a:prstGeom prst="ellipse">
              <a:avLst/>
            </a:prstGeom>
            <a:gradFill rotWithShape="1">
              <a:gsLst>
                <a:gs pos="0">
                  <a:srgbClr val="E6E6E6"/>
                </a:gs>
                <a:gs pos="100000">
                  <a:srgbClr val="979797"/>
                </a:gs>
              </a:gsLst>
              <a:lin ang="2700000" scaled="1"/>
            </a:gradFill>
            <a:ln w="6350" algn="ctr">
              <a:solidFill>
                <a:srgbClr val="808080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rot="10800000" vert="eaVert"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</p:grpSp>
      <p:grpSp>
        <p:nvGrpSpPr>
          <p:cNvPr id="94" name="Gruppieren 93">
            <a:extLst>
              <a:ext uri="{FF2B5EF4-FFF2-40B4-BE49-F238E27FC236}">
                <a16:creationId xmlns:a16="http://schemas.microsoft.com/office/drawing/2014/main" id="{A4BB9903-C5E3-4375-AF92-005AB0A1F705}"/>
              </a:ext>
            </a:extLst>
          </p:cNvPr>
          <p:cNvGrpSpPr/>
          <p:nvPr/>
        </p:nvGrpSpPr>
        <p:grpSpPr>
          <a:xfrm>
            <a:off x="7944240" y="4859809"/>
            <a:ext cx="500063" cy="157162"/>
            <a:chOff x="5857875" y="5690627"/>
            <a:chExt cx="500063" cy="157162"/>
          </a:xfrm>
        </p:grpSpPr>
        <p:sp>
          <p:nvSpPr>
            <p:cNvPr id="95" name="desk1">
              <a:extLst>
                <a:ext uri="{FF2B5EF4-FFF2-40B4-BE49-F238E27FC236}">
                  <a16:creationId xmlns:a16="http://schemas.microsoft.com/office/drawing/2014/main" id="{263B4C7A-5E3E-4181-AEED-DA5957F9A8D7}"/>
                </a:ext>
              </a:extLst>
            </p:cNvPr>
            <p:cNvSpPr>
              <a:spLocks noChangeAspect="1" noEditPoints="1" noChangeArrowheads="1"/>
            </p:cNvSpPr>
            <p:nvPr>
              <p:custDataLst>
                <p:tags r:id="rId53"/>
              </p:custDataLst>
            </p:nvPr>
          </p:nvSpPr>
          <p:spPr bwMode="auto">
            <a:xfrm>
              <a:off x="5857875" y="5690627"/>
              <a:ext cx="500063" cy="157162"/>
            </a:xfrm>
            <a:custGeom>
              <a:avLst/>
              <a:gdLst>
                <a:gd name="T0" fmla="*/ 0 w 21600"/>
                <a:gd name="T1" fmla="*/ 0 h 21600"/>
                <a:gd name="T2" fmla="*/ 2147483647 w 21600"/>
                <a:gd name="T3" fmla="*/ 0 h 21600"/>
                <a:gd name="T4" fmla="*/ 2147483647 w 21600"/>
                <a:gd name="T5" fmla="*/ 2147483647 h 21600"/>
                <a:gd name="T6" fmla="*/ 0 w 21600"/>
                <a:gd name="T7" fmla="*/ 2147483647 h 21600"/>
                <a:gd name="T8" fmla="*/ 2147483647 w 21600"/>
                <a:gd name="T9" fmla="*/ 0 h 21600"/>
                <a:gd name="T10" fmla="*/ 2147483647 w 21600"/>
                <a:gd name="T11" fmla="*/ 2147483647 h 21600"/>
                <a:gd name="T12" fmla="*/ 2147483647 w 21600"/>
                <a:gd name="T13" fmla="*/ 2147483647 h 21600"/>
                <a:gd name="T14" fmla="*/ 0 w 21600"/>
                <a:gd name="T15" fmla="*/ 2147483647 h 2160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1000 w 21600"/>
                <a:gd name="T25" fmla="*/ 1000 h 21600"/>
                <a:gd name="T26" fmla="*/ 20600 w 21600"/>
                <a:gd name="T27" fmla="*/ 20600 h 21600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1600" h="21600">
                  <a:moveTo>
                    <a:pt x="0" y="0"/>
                  </a:moveTo>
                  <a:lnTo>
                    <a:pt x="21600" y="0"/>
                  </a:lnTo>
                  <a:lnTo>
                    <a:pt x="21600" y="21600"/>
                  </a:lnTo>
                  <a:lnTo>
                    <a:pt x="0" y="21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0E1DF"/>
            </a:solidFill>
            <a:ln w="3175">
              <a:solidFill>
                <a:srgbClr val="A2A3A5"/>
              </a:solidFill>
              <a:miter lim="800000"/>
              <a:headEnd/>
              <a:tailEnd/>
            </a:ln>
          </p:spPr>
          <p:txBody>
            <a:bodyPr lIns="91413" tIns="45709" rIns="91413" bIns="45709"/>
            <a:lstStyle/>
            <a:p>
              <a:endParaRPr lang="de-DE"/>
            </a:p>
          </p:txBody>
        </p:sp>
        <p:sp>
          <p:nvSpPr>
            <p:cNvPr id="96" name="Oval 49">
              <a:extLst>
                <a:ext uri="{FF2B5EF4-FFF2-40B4-BE49-F238E27FC236}">
                  <a16:creationId xmlns:a16="http://schemas.microsoft.com/office/drawing/2014/main" id="{9D018B3C-D84F-40FC-AD0C-0AF96D00BD4B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54"/>
              </p:custDataLst>
            </p:nvPr>
          </p:nvSpPr>
          <p:spPr bwMode="auto">
            <a:xfrm rot="5400000">
              <a:off x="5897563" y="5717614"/>
              <a:ext cx="109537" cy="106363"/>
            </a:xfrm>
            <a:prstGeom prst="ellipse">
              <a:avLst/>
            </a:prstGeom>
            <a:gradFill rotWithShape="1">
              <a:gsLst>
                <a:gs pos="0">
                  <a:srgbClr val="FE0000"/>
                </a:gs>
                <a:gs pos="100000">
                  <a:srgbClr val="A60000"/>
                </a:gs>
              </a:gsLst>
              <a:lin ang="2700000" scaled="1"/>
            </a:gradFill>
            <a:ln w="6350" algn="ctr">
              <a:solidFill>
                <a:srgbClr val="333333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97" name="Oval 49">
              <a:extLst>
                <a:ext uri="{FF2B5EF4-FFF2-40B4-BE49-F238E27FC236}">
                  <a16:creationId xmlns:a16="http://schemas.microsoft.com/office/drawing/2014/main" id="{81775277-C3C7-489A-9258-40DF5644B49A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55"/>
              </p:custDataLst>
            </p:nvPr>
          </p:nvSpPr>
          <p:spPr bwMode="auto">
            <a:xfrm rot="5400000">
              <a:off x="6039644" y="5716821"/>
              <a:ext cx="107950" cy="106362"/>
            </a:xfrm>
            <a:prstGeom prst="ellipse">
              <a:avLst/>
            </a:prstGeom>
            <a:gradFill rotWithShape="1">
              <a:gsLst>
                <a:gs pos="0">
                  <a:srgbClr val="E6E6E6"/>
                </a:gs>
                <a:gs pos="100000">
                  <a:srgbClr val="979797"/>
                </a:gs>
              </a:gsLst>
              <a:lin ang="2700000" scaled="1"/>
            </a:gradFill>
            <a:ln w="6350" algn="ctr">
              <a:solidFill>
                <a:srgbClr val="808080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rot="10800000" vert="eaVert"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98" name="Oval 20">
              <a:extLst>
                <a:ext uri="{FF2B5EF4-FFF2-40B4-BE49-F238E27FC236}">
                  <a16:creationId xmlns:a16="http://schemas.microsoft.com/office/drawing/2014/main" id="{1DD564FA-1711-4405-85E8-F4A0B2115F07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56"/>
              </p:custDataLst>
            </p:nvPr>
          </p:nvSpPr>
          <p:spPr bwMode="auto">
            <a:xfrm rot="5400000">
              <a:off x="6178550" y="5716027"/>
              <a:ext cx="107950" cy="107950"/>
            </a:xfrm>
            <a:prstGeom prst="ellipse">
              <a:avLst/>
            </a:prstGeom>
            <a:gradFill rotWithShape="1">
              <a:gsLst>
                <a:gs pos="0">
                  <a:srgbClr val="E6E6E6"/>
                </a:gs>
                <a:gs pos="100000">
                  <a:srgbClr val="979797"/>
                </a:gs>
              </a:gsLst>
              <a:lin ang="2700000" scaled="1"/>
            </a:gradFill>
            <a:ln w="6350" algn="ctr">
              <a:solidFill>
                <a:srgbClr val="808080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rot="10800000" vert="eaVert"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</p:grpSp>
      <p:grpSp>
        <p:nvGrpSpPr>
          <p:cNvPr id="99" name="Gruppieren 98">
            <a:extLst>
              <a:ext uri="{FF2B5EF4-FFF2-40B4-BE49-F238E27FC236}">
                <a16:creationId xmlns:a16="http://schemas.microsoft.com/office/drawing/2014/main" id="{4534C184-7672-466C-9C84-2589FC35E8A8}"/>
              </a:ext>
            </a:extLst>
          </p:cNvPr>
          <p:cNvGrpSpPr/>
          <p:nvPr/>
        </p:nvGrpSpPr>
        <p:grpSpPr>
          <a:xfrm>
            <a:off x="7944240" y="5114055"/>
            <a:ext cx="500063" cy="157162"/>
            <a:chOff x="5857875" y="5690627"/>
            <a:chExt cx="500063" cy="157162"/>
          </a:xfrm>
        </p:grpSpPr>
        <p:sp>
          <p:nvSpPr>
            <p:cNvPr id="100" name="desk1">
              <a:extLst>
                <a:ext uri="{FF2B5EF4-FFF2-40B4-BE49-F238E27FC236}">
                  <a16:creationId xmlns:a16="http://schemas.microsoft.com/office/drawing/2014/main" id="{A70886A1-417E-4BB4-9148-ACD2BA7ED7B5}"/>
                </a:ext>
              </a:extLst>
            </p:cNvPr>
            <p:cNvSpPr>
              <a:spLocks noChangeAspect="1" noEditPoints="1" noChangeArrowheads="1"/>
            </p:cNvSpPr>
            <p:nvPr>
              <p:custDataLst>
                <p:tags r:id="rId49"/>
              </p:custDataLst>
            </p:nvPr>
          </p:nvSpPr>
          <p:spPr bwMode="auto">
            <a:xfrm>
              <a:off x="5857875" y="5690627"/>
              <a:ext cx="500063" cy="157162"/>
            </a:xfrm>
            <a:custGeom>
              <a:avLst/>
              <a:gdLst>
                <a:gd name="T0" fmla="*/ 0 w 21600"/>
                <a:gd name="T1" fmla="*/ 0 h 21600"/>
                <a:gd name="T2" fmla="*/ 2147483647 w 21600"/>
                <a:gd name="T3" fmla="*/ 0 h 21600"/>
                <a:gd name="T4" fmla="*/ 2147483647 w 21600"/>
                <a:gd name="T5" fmla="*/ 2147483647 h 21600"/>
                <a:gd name="T6" fmla="*/ 0 w 21600"/>
                <a:gd name="T7" fmla="*/ 2147483647 h 21600"/>
                <a:gd name="T8" fmla="*/ 2147483647 w 21600"/>
                <a:gd name="T9" fmla="*/ 0 h 21600"/>
                <a:gd name="T10" fmla="*/ 2147483647 w 21600"/>
                <a:gd name="T11" fmla="*/ 2147483647 h 21600"/>
                <a:gd name="T12" fmla="*/ 2147483647 w 21600"/>
                <a:gd name="T13" fmla="*/ 2147483647 h 21600"/>
                <a:gd name="T14" fmla="*/ 0 w 21600"/>
                <a:gd name="T15" fmla="*/ 2147483647 h 2160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1000 w 21600"/>
                <a:gd name="T25" fmla="*/ 1000 h 21600"/>
                <a:gd name="T26" fmla="*/ 20600 w 21600"/>
                <a:gd name="T27" fmla="*/ 20600 h 21600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1600" h="21600">
                  <a:moveTo>
                    <a:pt x="0" y="0"/>
                  </a:moveTo>
                  <a:lnTo>
                    <a:pt x="21600" y="0"/>
                  </a:lnTo>
                  <a:lnTo>
                    <a:pt x="21600" y="21600"/>
                  </a:lnTo>
                  <a:lnTo>
                    <a:pt x="0" y="21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0E1DF"/>
            </a:solidFill>
            <a:ln w="3175">
              <a:solidFill>
                <a:srgbClr val="A2A3A5"/>
              </a:solidFill>
              <a:miter lim="800000"/>
              <a:headEnd/>
              <a:tailEnd/>
            </a:ln>
          </p:spPr>
          <p:txBody>
            <a:bodyPr lIns="91413" tIns="45709" rIns="91413" bIns="45709"/>
            <a:lstStyle/>
            <a:p>
              <a:endParaRPr lang="de-DE"/>
            </a:p>
          </p:txBody>
        </p:sp>
        <p:sp>
          <p:nvSpPr>
            <p:cNvPr id="101" name="Oval 49">
              <a:extLst>
                <a:ext uri="{FF2B5EF4-FFF2-40B4-BE49-F238E27FC236}">
                  <a16:creationId xmlns:a16="http://schemas.microsoft.com/office/drawing/2014/main" id="{5072106D-4E37-475D-BAD6-81B5D74CC112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50"/>
              </p:custDataLst>
            </p:nvPr>
          </p:nvSpPr>
          <p:spPr bwMode="auto">
            <a:xfrm rot="5400000">
              <a:off x="5897563" y="5717614"/>
              <a:ext cx="109537" cy="106363"/>
            </a:xfrm>
            <a:prstGeom prst="ellipse">
              <a:avLst/>
            </a:prstGeom>
            <a:gradFill rotWithShape="1">
              <a:gsLst>
                <a:gs pos="0">
                  <a:srgbClr val="FE0000"/>
                </a:gs>
                <a:gs pos="100000">
                  <a:srgbClr val="A60000"/>
                </a:gs>
              </a:gsLst>
              <a:lin ang="2700000" scaled="1"/>
            </a:gradFill>
            <a:ln w="6350" algn="ctr">
              <a:solidFill>
                <a:srgbClr val="333333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102" name="Oval 49">
              <a:extLst>
                <a:ext uri="{FF2B5EF4-FFF2-40B4-BE49-F238E27FC236}">
                  <a16:creationId xmlns:a16="http://schemas.microsoft.com/office/drawing/2014/main" id="{814C1E2B-5875-41D4-8930-D938169AFC90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51"/>
              </p:custDataLst>
            </p:nvPr>
          </p:nvSpPr>
          <p:spPr bwMode="auto">
            <a:xfrm rot="5400000">
              <a:off x="6039644" y="5716821"/>
              <a:ext cx="107950" cy="106362"/>
            </a:xfrm>
            <a:prstGeom prst="ellipse">
              <a:avLst/>
            </a:prstGeom>
            <a:gradFill rotWithShape="1">
              <a:gsLst>
                <a:gs pos="0">
                  <a:srgbClr val="E6E6E6"/>
                </a:gs>
                <a:gs pos="100000">
                  <a:srgbClr val="979797"/>
                </a:gs>
              </a:gsLst>
              <a:lin ang="2700000" scaled="1"/>
            </a:gradFill>
            <a:ln w="6350" algn="ctr">
              <a:solidFill>
                <a:srgbClr val="808080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rot="10800000" vert="eaVert"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103" name="Oval 20">
              <a:extLst>
                <a:ext uri="{FF2B5EF4-FFF2-40B4-BE49-F238E27FC236}">
                  <a16:creationId xmlns:a16="http://schemas.microsoft.com/office/drawing/2014/main" id="{AE8C096A-AAB5-4E41-8D90-CB05F1136A2F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52"/>
              </p:custDataLst>
            </p:nvPr>
          </p:nvSpPr>
          <p:spPr bwMode="auto">
            <a:xfrm rot="5400000">
              <a:off x="6178550" y="5716027"/>
              <a:ext cx="107950" cy="107950"/>
            </a:xfrm>
            <a:prstGeom prst="ellipse">
              <a:avLst/>
            </a:prstGeom>
            <a:gradFill rotWithShape="1">
              <a:gsLst>
                <a:gs pos="0">
                  <a:srgbClr val="E6E6E6"/>
                </a:gs>
                <a:gs pos="100000">
                  <a:srgbClr val="979797"/>
                </a:gs>
              </a:gsLst>
              <a:lin ang="2700000" scaled="1"/>
            </a:gradFill>
            <a:ln w="6350" algn="ctr">
              <a:solidFill>
                <a:srgbClr val="808080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rot="10800000" vert="eaVert"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</p:grpSp>
      <p:grpSp>
        <p:nvGrpSpPr>
          <p:cNvPr id="104" name="Gruppieren 103">
            <a:extLst>
              <a:ext uri="{FF2B5EF4-FFF2-40B4-BE49-F238E27FC236}">
                <a16:creationId xmlns:a16="http://schemas.microsoft.com/office/drawing/2014/main" id="{F9254BDB-4E2E-4A78-B1C2-860763F24D54}"/>
              </a:ext>
            </a:extLst>
          </p:cNvPr>
          <p:cNvGrpSpPr/>
          <p:nvPr/>
        </p:nvGrpSpPr>
        <p:grpSpPr>
          <a:xfrm>
            <a:off x="7944239" y="5373876"/>
            <a:ext cx="500063" cy="157162"/>
            <a:chOff x="5857875" y="5690627"/>
            <a:chExt cx="500063" cy="157162"/>
          </a:xfrm>
        </p:grpSpPr>
        <p:sp>
          <p:nvSpPr>
            <p:cNvPr id="105" name="desk1">
              <a:extLst>
                <a:ext uri="{FF2B5EF4-FFF2-40B4-BE49-F238E27FC236}">
                  <a16:creationId xmlns:a16="http://schemas.microsoft.com/office/drawing/2014/main" id="{8B6000AF-B641-436D-A490-0213F6DB3F55}"/>
                </a:ext>
              </a:extLst>
            </p:cNvPr>
            <p:cNvSpPr>
              <a:spLocks noChangeAspect="1" noEditPoints="1" noChangeArrowheads="1"/>
            </p:cNvSpPr>
            <p:nvPr>
              <p:custDataLst>
                <p:tags r:id="rId45"/>
              </p:custDataLst>
            </p:nvPr>
          </p:nvSpPr>
          <p:spPr bwMode="auto">
            <a:xfrm>
              <a:off x="5857875" y="5690627"/>
              <a:ext cx="500063" cy="157162"/>
            </a:xfrm>
            <a:custGeom>
              <a:avLst/>
              <a:gdLst>
                <a:gd name="T0" fmla="*/ 0 w 21600"/>
                <a:gd name="T1" fmla="*/ 0 h 21600"/>
                <a:gd name="T2" fmla="*/ 2147483647 w 21600"/>
                <a:gd name="T3" fmla="*/ 0 h 21600"/>
                <a:gd name="T4" fmla="*/ 2147483647 w 21600"/>
                <a:gd name="T5" fmla="*/ 2147483647 h 21600"/>
                <a:gd name="T6" fmla="*/ 0 w 21600"/>
                <a:gd name="T7" fmla="*/ 2147483647 h 21600"/>
                <a:gd name="T8" fmla="*/ 2147483647 w 21600"/>
                <a:gd name="T9" fmla="*/ 0 h 21600"/>
                <a:gd name="T10" fmla="*/ 2147483647 w 21600"/>
                <a:gd name="T11" fmla="*/ 2147483647 h 21600"/>
                <a:gd name="T12" fmla="*/ 2147483647 w 21600"/>
                <a:gd name="T13" fmla="*/ 2147483647 h 21600"/>
                <a:gd name="T14" fmla="*/ 0 w 21600"/>
                <a:gd name="T15" fmla="*/ 2147483647 h 2160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1000 w 21600"/>
                <a:gd name="T25" fmla="*/ 1000 h 21600"/>
                <a:gd name="T26" fmla="*/ 20600 w 21600"/>
                <a:gd name="T27" fmla="*/ 20600 h 21600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1600" h="21600">
                  <a:moveTo>
                    <a:pt x="0" y="0"/>
                  </a:moveTo>
                  <a:lnTo>
                    <a:pt x="21600" y="0"/>
                  </a:lnTo>
                  <a:lnTo>
                    <a:pt x="21600" y="21600"/>
                  </a:lnTo>
                  <a:lnTo>
                    <a:pt x="0" y="21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0E1DF"/>
            </a:solidFill>
            <a:ln w="3175">
              <a:solidFill>
                <a:srgbClr val="A2A3A5"/>
              </a:solidFill>
              <a:miter lim="800000"/>
              <a:headEnd/>
              <a:tailEnd/>
            </a:ln>
          </p:spPr>
          <p:txBody>
            <a:bodyPr lIns="91413" tIns="45709" rIns="91413" bIns="45709"/>
            <a:lstStyle/>
            <a:p>
              <a:endParaRPr lang="de-DE"/>
            </a:p>
          </p:txBody>
        </p:sp>
        <p:sp>
          <p:nvSpPr>
            <p:cNvPr id="106" name="Oval 49">
              <a:extLst>
                <a:ext uri="{FF2B5EF4-FFF2-40B4-BE49-F238E27FC236}">
                  <a16:creationId xmlns:a16="http://schemas.microsoft.com/office/drawing/2014/main" id="{006EFF90-EEC1-4154-ABDE-ED498846BE40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46"/>
              </p:custDataLst>
            </p:nvPr>
          </p:nvSpPr>
          <p:spPr bwMode="auto">
            <a:xfrm rot="5400000">
              <a:off x="5897563" y="5717614"/>
              <a:ext cx="109537" cy="106363"/>
            </a:xfrm>
            <a:prstGeom prst="ellipse">
              <a:avLst/>
            </a:prstGeom>
            <a:gradFill rotWithShape="1">
              <a:gsLst>
                <a:gs pos="0">
                  <a:srgbClr val="FE0000"/>
                </a:gs>
                <a:gs pos="100000">
                  <a:srgbClr val="A60000"/>
                </a:gs>
              </a:gsLst>
              <a:lin ang="2700000" scaled="1"/>
            </a:gradFill>
            <a:ln w="6350" algn="ctr">
              <a:solidFill>
                <a:srgbClr val="333333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107" name="Oval 49">
              <a:extLst>
                <a:ext uri="{FF2B5EF4-FFF2-40B4-BE49-F238E27FC236}">
                  <a16:creationId xmlns:a16="http://schemas.microsoft.com/office/drawing/2014/main" id="{19246004-85C1-4707-A288-6970A101D4A3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47"/>
              </p:custDataLst>
            </p:nvPr>
          </p:nvSpPr>
          <p:spPr bwMode="auto">
            <a:xfrm rot="5400000">
              <a:off x="6039644" y="5716821"/>
              <a:ext cx="107950" cy="106362"/>
            </a:xfrm>
            <a:prstGeom prst="ellipse">
              <a:avLst/>
            </a:prstGeom>
            <a:gradFill rotWithShape="1">
              <a:gsLst>
                <a:gs pos="0">
                  <a:srgbClr val="E6E6E6"/>
                </a:gs>
                <a:gs pos="100000">
                  <a:srgbClr val="979797"/>
                </a:gs>
              </a:gsLst>
              <a:lin ang="2700000" scaled="1"/>
            </a:gradFill>
            <a:ln w="6350" algn="ctr">
              <a:solidFill>
                <a:srgbClr val="808080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rot="10800000" vert="eaVert"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108" name="Oval 20">
              <a:extLst>
                <a:ext uri="{FF2B5EF4-FFF2-40B4-BE49-F238E27FC236}">
                  <a16:creationId xmlns:a16="http://schemas.microsoft.com/office/drawing/2014/main" id="{48645418-EC67-47DB-A10C-075164DFA7B8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48"/>
              </p:custDataLst>
            </p:nvPr>
          </p:nvSpPr>
          <p:spPr bwMode="auto">
            <a:xfrm rot="5400000">
              <a:off x="6178550" y="5716027"/>
              <a:ext cx="107950" cy="107950"/>
            </a:xfrm>
            <a:prstGeom prst="ellipse">
              <a:avLst/>
            </a:prstGeom>
            <a:gradFill rotWithShape="1">
              <a:gsLst>
                <a:gs pos="0">
                  <a:srgbClr val="E6E6E6"/>
                </a:gs>
                <a:gs pos="100000">
                  <a:srgbClr val="979797"/>
                </a:gs>
              </a:gsLst>
              <a:lin ang="2700000" scaled="1"/>
            </a:gradFill>
            <a:ln w="6350" algn="ctr">
              <a:solidFill>
                <a:srgbClr val="808080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rot="10800000" vert="eaVert"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</p:grpSp>
      <p:grpSp>
        <p:nvGrpSpPr>
          <p:cNvPr id="109" name="Gruppieren 108">
            <a:extLst>
              <a:ext uri="{FF2B5EF4-FFF2-40B4-BE49-F238E27FC236}">
                <a16:creationId xmlns:a16="http://schemas.microsoft.com/office/drawing/2014/main" id="{5FA47661-2BF2-4383-86AA-C6A26BC07C10}"/>
              </a:ext>
            </a:extLst>
          </p:cNvPr>
          <p:cNvGrpSpPr/>
          <p:nvPr/>
        </p:nvGrpSpPr>
        <p:grpSpPr>
          <a:xfrm>
            <a:off x="7944054" y="2011309"/>
            <a:ext cx="500063" cy="157162"/>
            <a:chOff x="285750" y="5690627"/>
            <a:chExt cx="500063" cy="157162"/>
          </a:xfrm>
        </p:grpSpPr>
        <p:sp>
          <p:nvSpPr>
            <p:cNvPr id="110" name="desk1">
              <a:extLst>
                <a:ext uri="{FF2B5EF4-FFF2-40B4-BE49-F238E27FC236}">
                  <a16:creationId xmlns:a16="http://schemas.microsoft.com/office/drawing/2014/main" id="{9639AA70-5C51-430B-A65D-FF200EF2BB36}"/>
                </a:ext>
              </a:extLst>
            </p:cNvPr>
            <p:cNvSpPr>
              <a:spLocks noChangeAspect="1" noEditPoints="1" noChangeArrowheads="1"/>
            </p:cNvSpPr>
            <p:nvPr>
              <p:custDataLst>
                <p:tags r:id="rId41"/>
              </p:custDataLst>
            </p:nvPr>
          </p:nvSpPr>
          <p:spPr bwMode="auto">
            <a:xfrm>
              <a:off x="285750" y="5690627"/>
              <a:ext cx="500063" cy="157162"/>
            </a:xfrm>
            <a:custGeom>
              <a:avLst/>
              <a:gdLst>
                <a:gd name="T0" fmla="*/ 0 w 21600"/>
                <a:gd name="T1" fmla="*/ 0 h 21600"/>
                <a:gd name="T2" fmla="*/ 2147483647 w 21600"/>
                <a:gd name="T3" fmla="*/ 0 h 21600"/>
                <a:gd name="T4" fmla="*/ 2147483647 w 21600"/>
                <a:gd name="T5" fmla="*/ 2147483647 h 21600"/>
                <a:gd name="T6" fmla="*/ 0 w 21600"/>
                <a:gd name="T7" fmla="*/ 2147483647 h 21600"/>
                <a:gd name="T8" fmla="*/ 2147483647 w 21600"/>
                <a:gd name="T9" fmla="*/ 0 h 21600"/>
                <a:gd name="T10" fmla="*/ 2147483647 w 21600"/>
                <a:gd name="T11" fmla="*/ 2147483647 h 21600"/>
                <a:gd name="T12" fmla="*/ 2147483647 w 21600"/>
                <a:gd name="T13" fmla="*/ 2147483647 h 21600"/>
                <a:gd name="T14" fmla="*/ 0 w 21600"/>
                <a:gd name="T15" fmla="*/ 2147483647 h 2160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1000 w 21600"/>
                <a:gd name="T25" fmla="*/ 1000 h 21600"/>
                <a:gd name="T26" fmla="*/ 20600 w 21600"/>
                <a:gd name="T27" fmla="*/ 20600 h 21600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1600" h="21600">
                  <a:moveTo>
                    <a:pt x="0" y="0"/>
                  </a:moveTo>
                  <a:lnTo>
                    <a:pt x="21600" y="0"/>
                  </a:lnTo>
                  <a:lnTo>
                    <a:pt x="21600" y="21600"/>
                  </a:lnTo>
                  <a:lnTo>
                    <a:pt x="0" y="21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0E1DF"/>
            </a:solidFill>
            <a:ln w="3175">
              <a:solidFill>
                <a:srgbClr val="A2A3A5"/>
              </a:solidFill>
              <a:miter lim="800000"/>
              <a:headEnd/>
              <a:tailEnd/>
            </a:ln>
          </p:spPr>
          <p:txBody>
            <a:bodyPr lIns="91413" tIns="45709" rIns="91413" bIns="45709"/>
            <a:lstStyle/>
            <a:p>
              <a:endParaRPr lang="de-DE"/>
            </a:p>
          </p:txBody>
        </p:sp>
        <p:sp>
          <p:nvSpPr>
            <p:cNvPr id="111" name="Oval 19">
              <a:extLst>
                <a:ext uri="{FF2B5EF4-FFF2-40B4-BE49-F238E27FC236}">
                  <a16:creationId xmlns:a16="http://schemas.microsoft.com/office/drawing/2014/main" id="{6A5B3C20-6B11-4A74-AC56-303862FA238A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42"/>
              </p:custDataLst>
            </p:nvPr>
          </p:nvSpPr>
          <p:spPr bwMode="auto">
            <a:xfrm rot="5400000">
              <a:off x="325438" y="5716026"/>
              <a:ext cx="109538" cy="106363"/>
            </a:xfrm>
            <a:prstGeom prst="ellipse">
              <a:avLst/>
            </a:prstGeom>
            <a:gradFill rotWithShape="1">
              <a:gsLst>
                <a:gs pos="0">
                  <a:srgbClr val="E6E6E6"/>
                </a:gs>
                <a:gs pos="100000">
                  <a:srgbClr val="979797"/>
                </a:gs>
              </a:gsLst>
              <a:lin ang="2700000" scaled="1"/>
            </a:gradFill>
            <a:ln w="6350" algn="ctr">
              <a:solidFill>
                <a:srgbClr val="808080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rot="10800000" vert="eaVert"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112" name="Oval 49">
              <a:extLst>
                <a:ext uri="{FF2B5EF4-FFF2-40B4-BE49-F238E27FC236}">
                  <a16:creationId xmlns:a16="http://schemas.microsoft.com/office/drawing/2014/main" id="{3D1A6EE0-AFB6-427F-8E3C-708F509B9FC8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43"/>
              </p:custDataLst>
            </p:nvPr>
          </p:nvSpPr>
          <p:spPr bwMode="auto">
            <a:xfrm rot="5400000">
              <a:off x="605631" y="5715233"/>
              <a:ext cx="109538" cy="107950"/>
            </a:xfrm>
            <a:prstGeom prst="ellipse">
              <a:avLst/>
            </a:prstGeom>
            <a:gradFill rotWithShape="1">
              <a:gsLst>
                <a:gs pos="0">
                  <a:srgbClr val="00FE00"/>
                </a:gs>
                <a:gs pos="100000">
                  <a:srgbClr val="00A600"/>
                </a:gs>
              </a:gsLst>
              <a:lin ang="2700000" scaled="1"/>
            </a:gradFill>
            <a:ln w="6350" algn="ctr">
              <a:solidFill>
                <a:srgbClr val="333333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113" name="Oval 49">
              <a:extLst>
                <a:ext uri="{FF2B5EF4-FFF2-40B4-BE49-F238E27FC236}">
                  <a16:creationId xmlns:a16="http://schemas.microsoft.com/office/drawing/2014/main" id="{D33FBED9-306D-441C-A065-6B9775B4F4A4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44"/>
              </p:custDataLst>
            </p:nvPr>
          </p:nvSpPr>
          <p:spPr bwMode="auto">
            <a:xfrm rot="5400000">
              <a:off x="466725" y="5716027"/>
              <a:ext cx="109538" cy="106362"/>
            </a:xfrm>
            <a:prstGeom prst="ellipse">
              <a:avLst/>
            </a:prstGeom>
            <a:gradFill rotWithShape="1">
              <a:gsLst>
                <a:gs pos="0">
                  <a:srgbClr val="E6E6E6"/>
                </a:gs>
                <a:gs pos="100000">
                  <a:srgbClr val="979797"/>
                </a:gs>
              </a:gsLst>
              <a:lin ang="2700000" scaled="1"/>
            </a:gradFill>
            <a:ln w="6350" algn="ctr">
              <a:solidFill>
                <a:srgbClr val="808080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rot="10800000" vert="eaVert"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</p:grpSp>
      <p:grpSp>
        <p:nvGrpSpPr>
          <p:cNvPr id="114" name="Gruppieren 113">
            <a:extLst>
              <a:ext uri="{FF2B5EF4-FFF2-40B4-BE49-F238E27FC236}">
                <a16:creationId xmlns:a16="http://schemas.microsoft.com/office/drawing/2014/main" id="{56FD3B8E-65A4-44F1-B6AD-AF8F3AFA54D8}"/>
              </a:ext>
            </a:extLst>
          </p:cNvPr>
          <p:cNvGrpSpPr/>
          <p:nvPr/>
        </p:nvGrpSpPr>
        <p:grpSpPr>
          <a:xfrm>
            <a:off x="7944237" y="2270262"/>
            <a:ext cx="500063" cy="157162"/>
            <a:chOff x="285750" y="5690627"/>
            <a:chExt cx="500063" cy="157162"/>
          </a:xfrm>
        </p:grpSpPr>
        <p:sp>
          <p:nvSpPr>
            <p:cNvPr id="115" name="desk1">
              <a:extLst>
                <a:ext uri="{FF2B5EF4-FFF2-40B4-BE49-F238E27FC236}">
                  <a16:creationId xmlns:a16="http://schemas.microsoft.com/office/drawing/2014/main" id="{B8856AAC-815D-4A2F-A1F1-6BBE8905D325}"/>
                </a:ext>
              </a:extLst>
            </p:cNvPr>
            <p:cNvSpPr>
              <a:spLocks noChangeAspect="1" noEditPoints="1" noChangeArrowheads="1"/>
            </p:cNvSpPr>
            <p:nvPr>
              <p:custDataLst>
                <p:tags r:id="rId37"/>
              </p:custDataLst>
            </p:nvPr>
          </p:nvSpPr>
          <p:spPr bwMode="auto">
            <a:xfrm>
              <a:off x="285750" y="5690627"/>
              <a:ext cx="500063" cy="157162"/>
            </a:xfrm>
            <a:custGeom>
              <a:avLst/>
              <a:gdLst>
                <a:gd name="T0" fmla="*/ 0 w 21600"/>
                <a:gd name="T1" fmla="*/ 0 h 21600"/>
                <a:gd name="T2" fmla="*/ 2147483647 w 21600"/>
                <a:gd name="T3" fmla="*/ 0 h 21600"/>
                <a:gd name="T4" fmla="*/ 2147483647 w 21600"/>
                <a:gd name="T5" fmla="*/ 2147483647 h 21600"/>
                <a:gd name="T6" fmla="*/ 0 w 21600"/>
                <a:gd name="T7" fmla="*/ 2147483647 h 21600"/>
                <a:gd name="T8" fmla="*/ 2147483647 w 21600"/>
                <a:gd name="T9" fmla="*/ 0 h 21600"/>
                <a:gd name="T10" fmla="*/ 2147483647 w 21600"/>
                <a:gd name="T11" fmla="*/ 2147483647 h 21600"/>
                <a:gd name="T12" fmla="*/ 2147483647 w 21600"/>
                <a:gd name="T13" fmla="*/ 2147483647 h 21600"/>
                <a:gd name="T14" fmla="*/ 0 w 21600"/>
                <a:gd name="T15" fmla="*/ 2147483647 h 2160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1000 w 21600"/>
                <a:gd name="T25" fmla="*/ 1000 h 21600"/>
                <a:gd name="T26" fmla="*/ 20600 w 21600"/>
                <a:gd name="T27" fmla="*/ 20600 h 21600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1600" h="21600">
                  <a:moveTo>
                    <a:pt x="0" y="0"/>
                  </a:moveTo>
                  <a:lnTo>
                    <a:pt x="21600" y="0"/>
                  </a:lnTo>
                  <a:lnTo>
                    <a:pt x="21600" y="21600"/>
                  </a:lnTo>
                  <a:lnTo>
                    <a:pt x="0" y="21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0E1DF"/>
            </a:solidFill>
            <a:ln w="3175">
              <a:solidFill>
                <a:srgbClr val="A2A3A5"/>
              </a:solidFill>
              <a:miter lim="800000"/>
              <a:headEnd/>
              <a:tailEnd/>
            </a:ln>
          </p:spPr>
          <p:txBody>
            <a:bodyPr lIns="91413" tIns="45709" rIns="91413" bIns="45709"/>
            <a:lstStyle/>
            <a:p>
              <a:endParaRPr lang="de-DE"/>
            </a:p>
          </p:txBody>
        </p:sp>
        <p:sp>
          <p:nvSpPr>
            <p:cNvPr id="116" name="Oval 19">
              <a:extLst>
                <a:ext uri="{FF2B5EF4-FFF2-40B4-BE49-F238E27FC236}">
                  <a16:creationId xmlns:a16="http://schemas.microsoft.com/office/drawing/2014/main" id="{1E2B2B47-05C3-47B4-B8DB-A9DDE766572A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38"/>
              </p:custDataLst>
            </p:nvPr>
          </p:nvSpPr>
          <p:spPr bwMode="auto">
            <a:xfrm rot="5400000">
              <a:off x="325438" y="5716026"/>
              <a:ext cx="109538" cy="106363"/>
            </a:xfrm>
            <a:prstGeom prst="ellipse">
              <a:avLst/>
            </a:prstGeom>
            <a:gradFill rotWithShape="1">
              <a:gsLst>
                <a:gs pos="0">
                  <a:srgbClr val="E6E6E6"/>
                </a:gs>
                <a:gs pos="100000">
                  <a:srgbClr val="979797"/>
                </a:gs>
              </a:gsLst>
              <a:lin ang="2700000" scaled="1"/>
            </a:gradFill>
            <a:ln w="6350" algn="ctr">
              <a:solidFill>
                <a:srgbClr val="808080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rot="10800000" vert="eaVert"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117" name="Oval 49">
              <a:extLst>
                <a:ext uri="{FF2B5EF4-FFF2-40B4-BE49-F238E27FC236}">
                  <a16:creationId xmlns:a16="http://schemas.microsoft.com/office/drawing/2014/main" id="{E0E68641-F2CB-4BEF-8FB8-76C1C02BA973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39"/>
              </p:custDataLst>
            </p:nvPr>
          </p:nvSpPr>
          <p:spPr bwMode="auto">
            <a:xfrm rot="5400000">
              <a:off x="605631" y="5715233"/>
              <a:ext cx="109538" cy="107950"/>
            </a:xfrm>
            <a:prstGeom prst="ellipse">
              <a:avLst/>
            </a:prstGeom>
            <a:gradFill rotWithShape="1">
              <a:gsLst>
                <a:gs pos="0">
                  <a:srgbClr val="00FE00"/>
                </a:gs>
                <a:gs pos="100000">
                  <a:srgbClr val="00A600"/>
                </a:gs>
              </a:gsLst>
              <a:lin ang="2700000" scaled="1"/>
            </a:gradFill>
            <a:ln w="6350" algn="ctr">
              <a:solidFill>
                <a:srgbClr val="333333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118" name="Oval 49">
              <a:extLst>
                <a:ext uri="{FF2B5EF4-FFF2-40B4-BE49-F238E27FC236}">
                  <a16:creationId xmlns:a16="http://schemas.microsoft.com/office/drawing/2014/main" id="{CAB1E1EF-4A99-46A9-B3E6-58D53B32C609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40"/>
              </p:custDataLst>
            </p:nvPr>
          </p:nvSpPr>
          <p:spPr bwMode="auto">
            <a:xfrm rot="5400000">
              <a:off x="466725" y="5716027"/>
              <a:ext cx="109538" cy="106362"/>
            </a:xfrm>
            <a:prstGeom prst="ellipse">
              <a:avLst/>
            </a:prstGeom>
            <a:gradFill rotWithShape="1">
              <a:gsLst>
                <a:gs pos="0">
                  <a:srgbClr val="E6E6E6"/>
                </a:gs>
                <a:gs pos="100000">
                  <a:srgbClr val="979797"/>
                </a:gs>
              </a:gsLst>
              <a:lin ang="2700000" scaled="1"/>
            </a:gradFill>
            <a:ln w="6350" algn="ctr">
              <a:solidFill>
                <a:srgbClr val="808080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rot="10800000" vert="eaVert"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</p:grpSp>
      <p:grpSp>
        <p:nvGrpSpPr>
          <p:cNvPr id="119" name="Gruppieren 118">
            <a:extLst>
              <a:ext uri="{FF2B5EF4-FFF2-40B4-BE49-F238E27FC236}">
                <a16:creationId xmlns:a16="http://schemas.microsoft.com/office/drawing/2014/main" id="{105D7A94-D344-43C1-8F16-4FE671BFC61A}"/>
              </a:ext>
            </a:extLst>
          </p:cNvPr>
          <p:cNvGrpSpPr/>
          <p:nvPr/>
        </p:nvGrpSpPr>
        <p:grpSpPr>
          <a:xfrm>
            <a:off x="7944236" y="2526473"/>
            <a:ext cx="500063" cy="157162"/>
            <a:chOff x="285750" y="5690627"/>
            <a:chExt cx="500063" cy="157162"/>
          </a:xfrm>
        </p:grpSpPr>
        <p:sp>
          <p:nvSpPr>
            <p:cNvPr id="120" name="desk1">
              <a:extLst>
                <a:ext uri="{FF2B5EF4-FFF2-40B4-BE49-F238E27FC236}">
                  <a16:creationId xmlns:a16="http://schemas.microsoft.com/office/drawing/2014/main" id="{0DC15679-B816-4307-8B21-F8844CED2B25}"/>
                </a:ext>
              </a:extLst>
            </p:cNvPr>
            <p:cNvSpPr>
              <a:spLocks noChangeAspect="1" noEditPoints="1" noChangeArrowheads="1"/>
            </p:cNvSpPr>
            <p:nvPr>
              <p:custDataLst>
                <p:tags r:id="rId33"/>
              </p:custDataLst>
            </p:nvPr>
          </p:nvSpPr>
          <p:spPr bwMode="auto">
            <a:xfrm>
              <a:off x="285750" y="5690627"/>
              <a:ext cx="500063" cy="157162"/>
            </a:xfrm>
            <a:custGeom>
              <a:avLst/>
              <a:gdLst>
                <a:gd name="T0" fmla="*/ 0 w 21600"/>
                <a:gd name="T1" fmla="*/ 0 h 21600"/>
                <a:gd name="T2" fmla="*/ 2147483647 w 21600"/>
                <a:gd name="T3" fmla="*/ 0 h 21600"/>
                <a:gd name="T4" fmla="*/ 2147483647 w 21600"/>
                <a:gd name="T5" fmla="*/ 2147483647 h 21600"/>
                <a:gd name="T6" fmla="*/ 0 w 21600"/>
                <a:gd name="T7" fmla="*/ 2147483647 h 21600"/>
                <a:gd name="T8" fmla="*/ 2147483647 w 21600"/>
                <a:gd name="T9" fmla="*/ 0 h 21600"/>
                <a:gd name="T10" fmla="*/ 2147483647 w 21600"/>
                <a:gd name="T11" fmla="*/ 2147483647 h 21600"/>
                <a:gd name="T12" fmla="*/ 2147483647 w 21600"/>
                <a:gd name="T13" fmla="*/ 2147483647 h 21600"/>
                <a:gd name="T14" fmla="*/ 0 w 21600"/>
                <a:gd name="T15" fmla="*/ 2147483647 h 2160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1000 w 21600"/>
                <a:gd name="T25" fmla="*/ 1000 h 21600"/>
                <a:gd name="T26" fmla="*/ 20600 w 21600"/>
                <a:gd name="T27" fmla="*/ 20600 h 21600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1600" h="21600">
                  <a:moveTo>
                    <a:pt x="0" y="0"/>
                  </a:moveTo>
                  <a:lnTo>
                    <a:pt x="21600" y="0"/>
                  </a:lnTo>
                  <a:lnTo>
                    <a:pt x="21600" y="21600"/>
                  </a:lnTo>
                  <a:lnTo>
                    <a:pt x="0" y="21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0E1DF"/>
            </a:solidFill>
            <a:ln w="3175">
              <a:solidFill>
                <a:srgbClr val="A2A3A5"/>
              </a:solidFill>
              <a:miter lim="800000"/>
              <a:headEnd/>
              <a:tailEnd/>
            </a:ln>
          </p:spPr>
          <p:txBody>
            <a:bodyPr lIns="91413" tIns="45709" rIns="91413" bIns="45709"/>
            <a:lstStyle/>
            <a:p>
              <a:endParaRPr lang="de-DE"/>
            </a:p>
          </p:txBody>
        </p:sp>
        <p:sp>
          <p:nvSpPr>
            <p:cNvPr id="121" name="Oval 19">
              <a:extLst>
                <a:ext uri="{FF2B5EF4-FFF2-40B4-BE49-F238E27FC236}">
                  <a16:creationId xmlns:a16="http://schemas.microsoft.com/office/drawing/2014/main" id="{CEFE290E-D997-45A4-A52A-22B31F43300D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34"/>
              </p:custDataLst>
            </p:nvPr>
          </p:nvSpPr>
          <p:spPr bwMode="auto">
            <a:xfrm rot="5400000">
              <a:off x="325438" y="5716026"/>
              <a:ext cx="109538" cy="106363"/>
            </a:xfrm>
            <a:prstGeom prst="ellipse">
              <a:avLst/>
            </a:prstGeom>
            <a:gradFill rotWithShape="1">
              <a:gsLst>
                <a:gs pos="0">
                  <a:srgbClr val="E6E6E6"/>
                </a:gs>
                <a:gs pos="100000">
                  <a:srgbClr val="979797"/>
                </a:gs>
              </a:gsLst>
              <a:lin ang="2700000" scaled="1"/>
            </a:gradFill>
            <a:ln w="6350" algn="ctr">
              <a:solidFill>
                <a:srgbClr val="808080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rot="10800000" vert="eaVert"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122" name="Oval 49">
              <a:extLst>
                <a:ext uri="{FF2B5EF4-FFF2-40B4-BE49-F238E27FC236}">
                  <a16:creationId xmlns:a16="http://schemas.microsoft.com/office/drawing/2014/main" id="{AC52C174-082E-4093-A32F-BA39D50B4035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35"/>
              </p:custDataLst>
            </p:nvPr>
          </p:nvSpPr>
          <p:spPr bwMode="auto">
            <a:xfrm rot="5400000">
              <a:off x="605631" y="5715233"/>
              <a:ext cx="109538" cy="107950"/>
            </a:xfrm>
            <a:prstGeom prst="ellipse">
              <a:avLst/>
            </a:prstGeom>
            <a:gradFill rotWithShape="1">
              <a:gsLst>
                <a:gs pos="0">
                  <a:srgbClr val="00FE00"/>
                </a:gs>
                <a:gs pos="100000">
                  <a:srgbClr val="00A600"/>
                </a:gs>
              </a:gsLst>
              <a:lin ang="2700000" scaled="1"/>
            </a:gradFill>
            <a:ln w="6350" algn="ctr">
              <a:solidFill>
                <a:srgbClr val="333333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123" name="Oval 49">
              <a:extLst>
                <a:ext uri="{FF2B5EF4-FFF2-40B4-BE49-F238E27FC236}">
                  <a16:creationId xmlns:a16="http://schemas.microsoft.com/office/drawing/2014/main" id="{9D15977B-B31F-4FE5-A9A3-68B042E63871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36"/>
              </p:custDataLst>
            </p:nvPr>
          </p:nvSpPr>
          <p:spPr bwMode="auto">
            <a:xfrm rot="5400000">
              <a:off x="466725" y="5716027"/>
              <a:ext cx="109538" cy="106362"/>
            </a:xfrm>
            <a:prstGeom prst="ellipse">
              <a:avLst/>
            </a:prstGeom>
            <a:gradFill rotWithShape="1">
              <a:gsLst>
                <a:gs pos="0">
                  <a:srgbClr val="E6E6E6"/>
                </a:gs>
                <a:gs pos="100000">
                  <a:srgbClr val="979797"/>
                </a:gs>
              </a:gsLst>
              <a:lin ang="2700000" scaled="1"/>
            </a:gradFill>
            <a:ln w="6350" algn="ctr">
              <a:solidFill>
                <a:srgbClr val="808080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rot="10800000" vert="eaVert"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</p:grpSp>
      <p:grpSp>
        <p:nvGrpSpPr>
          <p:cNvPr id="124" name="Gruppieren 123">
            <a:extLst>
              <a:ext uri="{FF2B5EF4-FFF2-40B4-BE49-F238E27FC236}">
                <a16:creationId xmlns:a16="http://schemas.microsoft.com/office/drawing/2014/main" id="{BC44B79E-3803-4251-BD68-040890205D2E}"/>
              </a:ext>
            </a:extLst>
          </p:cNvPr>
          <p:cNvGrpSpPr/>
          <p:nvPr/>
        </p:nvGrpSpPr>
        <p:grpSpPr>
          <a:xfrm>
            <a:off x="7944235" y="2777449"/>
            <a:ext cx="500063" cy="157162"/>
            <a:chOff x="285750" y="5690627"/>
            <a:chExt cx="500063" cy="157162"/>
          </a:xfrm>
        </p:grpSpPr>
        <p:sp>
          <p:nvSpPr>
            <p:cNvPr id="125" name="desk1">
              <a:extLst>
                <a:ext uri="{FF2B5EF4-FFF2-40B4-BE49-F238E27FC236}">
                  <a16:creationId xmlns:a16="http://schemas.microsoft.com/office/drawing/2014/main" id="{6EEA4DB3-E47C-4FE2-8853-1E0E37756D88}"/>
                </a:ext>
              </a:extLst>
            </p:cNvPr>
            <p:cNvSpPr>
              <a:spLocks noChangeAspect="1" noEditPoints="1" noChangeArrowheads="1"/>
            </p:cNvSpPr>
            <p:nvPr>
              <p:custDataLst>
                <p:tags r:id="rId29"/>
              </p:custDataLst>
            </p:nvPr>
          </p:nvSpPr>
          <p:spPr bwMode="auto">
            <a:xfrm>
              <a:off x="285750" y="5690627"/>
              <a:ext cx="500063" cy="157162"/>
            </a:xfrm>
            <a:custGeom>
              <a:avLst/>
              <a:gdLst>
                <a:gd name="T0" fmla="*/ 0 w 21600"/>
                <a:gd name="T1" fmla="*/ 0 h 21600"/>
                <a:gd name="T2" fmla="*/ 2147483647 w 21600"/>
                <a:gd name="T3" fmla="*/ 0 h 21600"/>
                <a:gd name="T4" fmla="*/ 2147483647 w 21600"/>
                <a:gd name="T5" fmla="*/ 2147483647 h 21600"/>
                <a:gd name="T6" fmla="*/ 0 w 21600"/>
                <a:gd name="T7" fmla="*/ 2147483647 h 21600"/>
                <a:gd name="T8" fmla="*/ 2147483647 w 21600"/>
                <a:gd name="T9" fmla="*/ 0 h 21600"/>
                <a:gd name="T10" fmla="*/ 2147483647 w 21600"/>
                <a:gd name="T11" fmla="*/ 2147483647 h 21600"/>
                <a:gd name="T12" fmla="*/ 2147483647 w 21600"/>
                <a:gd name="T13" fmla="*/ 2147483647 h 21600"/>
                <a:gd name="T14" fmla="*/ 0 w 21600"/>
                <a:gd name="T15" fmla="*/ 2147483647 h 2160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1000 w 21600"/>
                <a:gd name="T25" fmla="*/ 1000 h 21600"/>
                <a:gd name="T26" fmla="*/ 20600 w 21600"/>
                <a:gd name="T27" fmla="*/ 20600 h 21600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1600" h="21600">
                  <a:moveTo>
                    <a:pt x="0" y="0"/>
                  </a:moveTo>
                  <a:lnTo>
                    <a:pt x="21600" y="0"/>
                  </a:lnTo>
                  <a:lnTo>
                    <a:pt x="21600" y="21600"/>
                  </a:lnTo>
                  <a:lnTo>
                    <a:pt x="0" y="21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0E1DF"/>
            </a:solidFill>
            <a:ln w="3175">
              <a:solidFill>
                <a:srgbClr val="A2A3A5"/>
              </a:solidFill>
              <a:miter lim="800000"/>
              <a:headEnd/>
              <a:tailEnd/>
            </a:ln>
          </p:spPr>
          <p:txBody>
            <a:bodyPr lIns="91413" tIns="45709" rIns="91413" bIns="45709"/>
            <a:lstStyle/>
            <a:p>
              <a:endParaRPr lang="de-DE"/>
            </a:p>
          </p:txBody>
        </p:sp>
        <p:sp>
          <p:nvSpPr>
            <p:cNvPr id="126" name="Oval 19">
              <a:extLst>
                <a:ext uri="{FF2B5EF4-FFF2-40B4-BE49-F238E27FC236}">
                  <a16:creationId xmlns:a16="http://schemas.microsoft.com/office/drawing/2014/main" id="{76333F39-2E04-49B5-BD82-8B41C1783114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30"/>
              </p:custDataLst>
            </p:nvPr>
          </p:nvSpPr>
          <p:spPr bwMode="auto">
            <a:xfrm rot="5400000">
              <a:off x="325438" y="5716026"/>
              <a:ext cx="109538" cy="106363"/>
            </a:xfrm>
            <a:prstGeom prst="ellipse">
              <a:avLst/>
            </a:prstGeom>
            <a:gradFill rotWithShape="1">
              <a:gsLst>
                <a:gs pos="0">
                  <a:srgbClr val="E6E6E6"/>
                </a:gs>
                <a:gs pos="100000">
                  <a:srgbClr val="979797"/>
                </a:gs>
              </a:gsLst>
              <a:lin ang="2700000" scaled="1"/>
            </a:gradFill>
            <a:ln w="6350" algn="ctr">
              <a:solidFill>
                <a:srgbClr val="808080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rot="10800000" vert="eaVert"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127" name="Oval 49">
              <a:extLst>
                <a:ext uri="{FF2B5EF4-FFF2-40B4-BE49-F238E27FC236}">
                  <a16:creationId xmlns:a16="http://schemas.microsoft.com/office/drawing/2014/main" id="{B9BE69D4-5328-4270-A489-77B3A5CEA730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31"/>
              </p:custDataLst>
            </p:nvPr>
          </p:nvSpPr>
          <p:spPr bwMode="auto">
            <a:xfrm rot="5400000">
              <a:off x="605631" y="5715233"/>
              <a:ext cx="109538" cy="107950"/>
            </a:xfrm>
            <a:prstGeom prst="ellipse">
              <a:avLst/>
            </a:prstGeom>
            <a:gradFill rotWithShape="1">
              <a:gsLst>
                <a:gs pos="0">
                  <a:srgbClr val="00FE00"/>
                </a:gs>
                <a:gs pos="100000">
                  <a:srgbClr val="00A600"/>
                </a:gs>
              </a:gsLst>
              <a:lin ang="2700000" scaled="1"/>
            </a:gradFill>
            <a:ln w="6350" algn="ctr">
              <a:solidFill>
                <a:srgbClr val="333333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128" name="Oval 49">
              <a:extLst>
                <a:ext uri="{FF2B5EF4-FFF2-40B4-BE49-F238E27FC236}">
                  <a16:creationId xmlns:a16="http://schemas.microsoft.com/office/drawing/2014/main" id="{5D8CC23A-0EE0-4003-B9A7-E3A47F2B40AF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32"/>
              </p:custDataLst>
            </p:nvPr>
          </p:nvSpPr>
          <p:spPr bwMode="auto">
            <a:xfrm rot="5400000">
              <a:off x="466725" y="5716027"/>
              <a:ext cx="109538" cy="106362"/>
            </a:xfrm>
            <a:prstGeom prst="ellipse">
              <a:avLst/>
            </a:prstGeom>
            <a:gradFill rotWithShape="1">
              <a:gsLst>
                <a:gs pos="0">
                  <a:srgbClr val="E6E6E6"/>
                </a:gs>
                <a:gs pos="100000">
                  <a:srgbClr val="979797"/>
                </a:gs>
              </a:gsLst>
              <a:lin ang="2700000" scaled="1"/>
            </a:gradFill>
            <a:ln w="6350" algn="ctr">
              <a:solidFill>
                <a:srgbClr val="808080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rot="10800000" vert="eaVert"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</p:grpSp>
      <p:grpSp>
        <p:nvGrpSpPr>
          <p:cNvPr id="129" name="Gruppieren 128">
            <a:extLst>
              <a:ext uri="{FF2B5EF4-FFF2-40B4-BE49-F238E27FC236}">
                <a16:creationId xmlns:a16="http://schemas.microsoft.com/office/drawing/2014/main" id="{488C52F0-C544-4916-A8A2-57E0F2D1C259}"/>
              </a:ext>
            </a:extLst>
          </p:cNvPr>
          <p:cNvGrpSpPr/>
          <p:nvPr/>
        </p:nvGrpSpPr>
        <p:grpSpPr>
          <a:xfrm>
            <a:off x="7944057" y="3031805"/>
            <a:ext cx="500063" cy="157162"/>
            <a:chOff x="285750" y="5690627"/>
            <a:chExt cx="500063" cy="157162"/>
          </a:xfrm>
        </p:grpSpPr>
        <p:sp>
          <p:nvSpPr>
            <p:cNvPr id="130" name="desk1">
              <a:extLst>
                <a:ext uri="{FF2B5EF4-FFF2-40B4-BE49-F238E27FC236}">
                  <a16:creationId xmlns:a16="http://schemas.microsoft.com/office/drawing/2014/main" id="{C0611A14-9556-43BF-9559-434E10A06151}"/>
                </a:ext>
              </a:extLst>
            </p:cNvPr>
            <p:cNvSpPr>
              <a:spLocks noChangeAspect="1" noEditPoints="1" noChangeArrowheads="1"/>
            </p:cNvSpPr>
            <p:nvPr>
              <p:custDataLst>
                <p:tags r:id="rId25"/>
              </p:custDataLst>
            </p:nvPr>
          </p:nvSpPr>
          <p:spPr bwMode="auto">
            <a:xfrm>
              <a:off x="285750" y="5690627"/>
              <a:ext cx="500063" cy="157162"/>
            </a:xfrm>
            <a:custGeom>
              <a:avLst/>
              <a:gdLst>
                <a:gd name="T0" fmla="*/ 0 w 21600"/>
                <a:gd name="T1" fmla="*/ 0 h 21600"/>
                <a:gd name="T2" fmla="*/ 2147483647 w 21600"/>
                <a:gd name="T3" fmla="*/ 0 h 21600"/>
                <a:gd name="T4" fmla="*/ 2147483647 w 21600"/>
                <a:gd name="T5" fmla="*/ 2147483647 h 21600"/>
                <a:gd name="T6" fmla="*/ 0 w 21600"/>
                <a:gd name="T7" fmla="*/ 2147483647 h 21600"/>
                <a:gd name="T8" fmla="*/ 2147483647 w 21600"/>
                <a:gd name="T9" fmla="*/ 0 h 21600"/>
                <a:gd name="T10" fmla="*/ 2147483647 w 21600"/>
                <a:gd name="T11" fmla="*/ 2147483647 h 21600"/>
                <a:gd name="T12" fmla="*/ 2147483647 w 21600"/>
                <a:gd name="T13" fmla="*/ 2147483647 h 21600"/>
                <a:gd name="T14" fmla="*/ 0 w 21600"/>
                <a:gd name="T15" fmla="*/ 2147483647 h 2160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1000 w 21600"/>
                <a:gd name="T25" fmla="*/ 1000 h 21600"/>
                <a:gd name="T26" fmla="*/ 20600 w 21600"/>
                <a:gd name="T27" fmla="*/ 20600 h 21600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1600" h="21600">
                  <a:moveTo>
                    <a:pt x="0" y="0"/>
                  </a:moveTo>
                  <a:lnTo>
                    <a:pt x="21600" y="0"/>
                  </a:lnTo>
                  <a:lnTo>
                    <a:pt x="21600" y="21600"/>
                  </a:lnTo>
                  <a:lnTo>
                    <a:pt x="0" y="21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0E1DF"/>
            </a:solidFill>
            <a:ln w="3175">
              <a:solidFill>
                <a:srgbClr val="A2A3A5"/>
              </a:solidFill>
              <a:miter lim="800000"/>
              <a:headEnd/>
              <a:tailEnd/>
            </a:ln>
          </p:spPr>
          <p:txBody>
            <a:bodyPr lIns="91413" tIns="45709" rIns="91413" bIns="45709"/>
            <a:lstStyle/>
            <a:p>
              <a:endParaRPr lang="de-DE"/>
            </a:p>
          </p:txBody>
        </p:sp>
        <p:sp>
          <p:nvSpPr>
            <p:cNvPr id="131" name="Oval 19">
              <a:extLst>
                <a:ext uri="{FF2B5EF4-FFF2-40B4-BE49-F238E27FC236}">
                  <a16:creationId xmlns:a16="http://schemas.microsoft.com/office/drawing/2014/main" id="{80458803-F7DB-4130-B568-3CBDCCED93DF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26"/>
              </p:custDataLst>
            </p:nvPr>
          </p:nvSpPr>
          <p:spPr bwMode="auto">
            <a:xfrm rot="5400000">
              <a:off x="325438" y="5716026"/>
              <a:ext cx="109538" cy="106363"/>
            </a:xfrm>
            <a:prstGeom prst="ellipse">
              <a:avLst/>
            </a:prstGeom>
            <a:gradFill rotWithShape="1">
              <a:gsLst>
                <a:gs pos="0">
                  <a:srgbClr val="E6E6E6"/>
                </a:gs>
                <a:gs pos="100000">
                  <a:srgbClr val="979797"/>
                </a:gs>
              </a:gsLst>
              <a:lin ang="2700000" scaled="1"/>
            </a:gradFill>
            <a:ln w="6350" algn="ctr">
              <a:solidFill>
                <a:srgbClr val="808080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rot="10800000" vert="eaVert"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132" name="Oval 49">
              <a:extLst>
                <a:ext uri="{FF2B5EF4-FFF2-40B4-BE49-F238E27FC236}">
                  <a16:creationId xmlns:a16="http://schemas.microsoft.com/office/drawing/2014/main" id="{CA58EB80-CC9D-4720-840A-5ADCB0ED4A8F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27"/>
              </p:custDataLst>
            </p:nvPr>
          </p:nvSpPr>
          <p:spPr bwMode="auto">
            <a:xfrm rot="5400000">
              <a:off x="605631" y="5715233"/>
              <a:ext cx="109538" cy="107950"/>
            </a:xfrm>
            <a:prstGeom prst="ellipse">
              <a:avLst/>
            </a:prstGeom>
            <a:gradFill rotWithShape="1">
              <a:gsLst>
                <a:gs pos="0">
                  <a:srgbClr val="00FE00"/>
                </a:gs>
                <a:gs pos="100000">
                  <a:srgbClr val="00A600"/>
                </a:gs>
              </a:gsLst>
              <a:lin ang="2700000" scaled="1"/>
            </a:gradFill>
            <a:ln w="6350" algn="ctr">
              <a:solidFill>
                <a:srgbClr val="333333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133" name="Oval 49">
              <a:extLst>
                <a:ext uri="{FF2B5EF4-FFF2-40B4-BE49-F238E27FC236}">
                  <a16:creationId xmlns:a16="http://schemas.microsoft.com/office/drawing/2014/main" id="{9DBB70DA-6673-4A69-BD4F-F682631509C2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28"/>
              </p:custDataLst>
            </p:nvPr>
          </p:nvSpPr>
          <p:spPr bwMode="auto">
            <a:xfrm rot="5400000">
              <a:off x="466725" y="5716027"/>
              <a:ext cx="109538" cy="106362"/>
            </a:xfrm>
            <a:prstGeom prst="ellipse">
              <a:avLst/>
            </a:prstGeom>
            <a:gradFill rotWithShape="1">
              <a:gsLst>
                <a:gs pos="0">
                  <a:srgbClr val="E6E6E6"/>
                </a:gs>
                <a:gs pos="100000">
                  <a:srgbClr val="979797"/>
                </a:gs>
              </a:gsLst>
              <a:lin ang="2700000" scaled="1"/>
            </a:gradFill>
            <a:ln w="6350" algn="ctr">
              <a:solidFill>
                <a:srgbClr val="808080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rot="10800000" vert="eaVert"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</p:grpSp>
      <p:grpSp>
        <p:nvGrpSpPr>
          <p:cNvPr id="134" name="Gruppieren 133">
            <a:extLst>
              <a:ext uri="{FF2B5EF4-FFF2-40B4-BE49-F238E27FC236}">
                <a16:creationId xmlns:a16="http://schemas.microsoft.com/office/drawing/2014/main" id="{A7460D1B-2AC5-496F-8F57-F250FF5A713A}"/>
              </a:ext>
            </a:extLst>
          </p:cNvPr>
          <p:cNvGrpSpPr/>
          <p:nvPr/>
        </p:nvGrpSpPr>
        <p:grpSpPr>
          <a:xfrm>
            <a:off x="7944053" y="3294165"/>
            <a:ext cx="500063" cy="157162"/>
            <a:chOff x="285750" y="5690627"/>
            <a:chExt cx="500063" cy="157162"/>
          </a:xfrm>
        </p:grpSpPr>
        <p:sp>
          <p:nvSpPr>
            <p:cNvPr id="135" name="desk1">
              <a:extLst>
                <a:ext uri="{FF2B5EF4-FFF2-40B4-BE49-F238E27FC236}">
                  <a16:creationId xmlns:a16="http://schemas.microsoft.com/office/drawing/2014/main" id="{6C704CE5-B0F0-4C11-AF1C-E5486024D6C7}"/>
                </a:ext>
              </a:extLst>
            </p:cNvPr>
            <p:cNvSpPr>
              <a:spLocks noChangeAspect="1" noEditPoints="1" noChangeArrowheads="1"/>
            </p:cNvSpPr>
            <p:nvPr>
              <p:custDataLst>
                <p:tags r:id="rId21"/>
              </p:custDataLst>
            </p:nvPr>
          </p:nvSpPr>
          <p:spPr bwMode="auto">
            <a:xfrm>
              <a:off x="285750" y="5690627"/>
              <a:ext cx="500063" cy="157162"/>
            </a:xfrm>
            <a:custGeom>
              <a:avLst/>
              <a:gdLst>
                <a:gd name="T0" fmla="*/ 0 w 21600"/>
                <a:gd name="T1" fmla="*/ 0 h 21600"/>
                <a:gd name="T2" fmla="*/ 2147483647 w 21600"/>
                <a:gd name="T3" fmla="*/ 0 h 21600"/>
                <a:gd name="T4" fmla="*/ 2147483647 w 21600"/>
                <a:gd name="T5" fmla="*/ 2147483647 h 21600"/>
                <a:gd name="T6" fmla="*/ 0 w 21600"/>
                <a:gd name="T7" fmla="*/ 2147483647 h 21600"/>
                <a:gd name="T8" fmla="*/ 2147483647 w 21600"/>
                <a:gd name="T9" fmla="*/ 0 h 21600"/>
                <a:gd name="T10" fmla="*/ 2147483647 w 21600"/>
                <a:gd name="T11" fmla="*/ 2147483647 h 21600"/>
                <a:gd name="T12" fmla="*/ 2147483647 w 21600"/>
                <a:gd name="T13" fmla="*/ 2147483647 h 21600"/>
                <a:gd name="T14" fmla="*/ 0 w 21600"/>
                <a:gd name="T15" fmla="*/ 2147483647 h 2160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1000 w 21600"/>
                <a:gd name="T25" fmla="*/ 1000 h 21600"/>
                <a:gd name="T26" fmla="*/ 20600 w 21600"/>
                <a:gd name="T27" fmla="*/ 20600 h 21600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1600" h="21600">
                  <a:moveTo>
                    <a:pt x="0" y="0"/>
                  </a:moveTo>
                  <a:lnTo>
                    <a:pt x="21600" y="0"/>
                  </a:lnTo>
                  <a:lnTo>
                    <a:pt x="21600" y="21600"/>
                  </a:lnTo>
                  <a:lnTo>
                    <a:pt x="0" y="21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0E1DF"/>
            </a:solidFill>
            <a:ln w="3175">
              <a:solidFill>
                <a:srgbClr val="A2A3A5"/>
              </a:solidFill>
              <a:miter lim="800000"/>
              <a:headEnd/>
              <a:tailEnd/>
            </a:ln>
          </p:spPr>
          <p:txBody>
            <a:bodyPr lIns="91413" tIns="45709" rIns="91413" bIns="45709"/>
            <a:lstStyle/>
            <a:p>
              <a:endParaRPr lang="de-DE"/>
            </a:p>
          </p:txBody>
        </p:sp>
        <p:sp>
          <p:nvSpPr>
            <p:cNvPr id="136" name="Oval 19">
              <a:extLst>
                <a:ext uri="{FF2B5EF4-FFF2-40B4-BE49-F238E27FC236}">
                  <a16:creationId xmlns:a16="http://schemas.microsoft.com/office/drawing/2014/main" id="{02F7353C-20F8-4935-A980-B6E8B684823C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22"/>
              </p:custDataLst>
            </p:nvPr>
          </p:nvSpPr>
          <p:spPr bwMode="auto">
            <a:xfrm rot="5400000">
              <a:off x="325438" y="5716026"/>
              <a:ext cx="109538" cy="106363"/>
            </a:xfrm>
            <a:prstGeom prst="ellipse">
              <a:avLst/>
            </a:prstGeom>
            <a:gradFill rotWithShape="1">
              <a:gsLst>
                <a:gs pos="0">
                  <a:srgbClr val="E6E6E6"/>
                </a:gs>
                <a:gs pos="100000">
                  <a:srgbClr val="979797"/>
                </a:gs>
              </a:gsLst>
              <a:lin ang="2700000" scaled="1"/>
            </a:gradFill>
            <a:ln w="6350" algn="ctr">
              <a:solidFill>
                <a:srgbClr val="808080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rot="10800000" vert="eaVert"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137" name="Oval 49">
              <a:extLst>
                <a:ext uri="{FF2B5EF4-FFF2-40B4-BE49-F238E27FC236}">
                  <a16:creationId xmlns:a16="http://schemas.microsoft.com/office/drawing/2014/main" id="{689A7F6D-9125-4F1A-AC31-8F355218937F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23"/>
              </p:custDataLst>
            </p:nvPr>
          </p:nvSpPr>
          <p:spPr bwMode="auto">
            <a:xfrm rot="5400000">
              <a:off x="605631" y="5715233"/>
              <a:ext cx="109538" cy="107950"/>
            </a:xfrm>
            <a:prstGeom prst="ellipse">
              <a:avLst/>
            </a:prstGeom>
            <a:gradFill rotWithShape="1">
              <a:gsLst>
                <a:gs pos="0">
                  <a:srgbClr val="00FE00"/>
                </a:gs>
                <a:gs pos="100000">
                  <a:srgbClr val="00A600"/>
                </a:gs>
              </a:gsLst>
              <a:lin ang="2700000" scaled="1"/>
            </a:gradFill>
            <a:ln w="6350" algn="ctr">
              <a:solidFill>
                <a:srgbClr val="333333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138" name="Oval 49">
              <a:extLst>
                <a:ext uri="{FF2B5EF4-FFF2-40B4-BE49-F238E27FC236}">
                  <a16:creationId xmlns:a16="http://schemas.microsoft.com/office/drawing/2014/main" id="{1A928D88-B29E-4E51-998F-00F56FDE8345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24"/>
              </p:custDataLst>
            </p:nvPr>
          </p:nvSpPr>
          <p:spPr bwMode="auto">
            <a:xfrm rot="5400000">
              <a:off x="466725" y="5716027"/>
              <a:ext cx="109538" cy="106362"/>
            </a:xfrm>
            <a:prstGeom prst="ellipse">
              <a:avLst/>
            </a:prstGeom>
            <a:gradFill rotWithShape="1">
              <a:gsLst>
                <a:gs pos="0">
                  <a:srgbClr val="E6E6E6"/>
                </a:gs>
                <a:gs pos="100000">
                  <a:srgbClr val="979797"/>
                </a:gs>
              </a:gsLst>
              <a:lin ang="2700000" scaled="1"/>
            </a:gradFill>
            <a:ln w="6350" algn="ctr">
              <a:solidFill>
                <a:srgbClr val="808080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rot="10800000" vert="eaVert"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</p:grpSp>
      <p:grpSp>
        <p:nvGrpSpPr>
          <p:cNvPr id="139" name="Gruppieren 138">
            <a:extLst>
              <a:ext uri="{FF2B5EF4-FFF2-40B4-BE49-F238E27FC236}">
                <a16:creationId xmlns:a16="http://schemas.microsoft.com/office/drawing/2014/main" id="{25139183-95AD-4F3C-ADC4-637CD4DD2B0F}"/>
              </a:ext>
            </a:extLst>
          </p:cNvPr>
          <p:cNvGrpSpPr/>
          <p:nvPr/>
        </p:nvGrpSpPr>
        <p:grpSpPr>
          <a:xfrm>
            <a:off x="7944052" y="3559859"/>
            <a:ext cx="500063" cy="157162"/>
            <a:chOff x="285750" y="5690627"/>
            <a:chExt cx="500063" cy="157162"/>
          </a:xfrm>
        </p:grpSpPr>
        <p:sp>
          <p:nvSpPr>
            <p:cNvPr id="140" name="desk1">
              <a:extLst>
                <a:ext uri="{FF2B5EF4-FFF2-40B4-BE49-F238E27FC236}">
                  <a16:creationId xmlns:a16="http://schemas.microsoft.com/office/drawing/2014/main" id="{C24301E9-8B65-47EE-896C-C8251B6CF9ED}"/>
                </a:ext>
              </a:extLst>
            </p:cNvPr>
            <p:cNvSpPr>
              <a:spLocks noChangeAspect="1" noEditPoints="1" noChangeArrowheads="1"/>
            </p:cNvSpPr>
            <p:nvPr>
              <p:custDataLst>
                <p:tags r:id="rId17"/>
              </p:custDataLst>
            </p:nvPr>
          </p:nvSpPr>
          <p:spPr bwMode="auto">
            <a:xfrm>
              <a:off x="285750" y="5690627"/>
              <a:ext cx="500063" cy="157162"/>
            </a:xfrm>
            <a:custGeom>
              <a:avLst/>
              <a:gdLst>
                <a:gd name="T0" fmla="*/ 0 w 21600"/>
                <a:gd name="T1" fmla="*/ 0 h 21600"/>
                <a:gd name="T2" fmla="*/ 2147483647 w 21600"/>
                <a:gd name="T3" fmla="*/ 0 h 21600"/>
                <a:gd name="T4" fmla="*/ 2147483647 w 21600"/>
                <a:gd name="T5" fmla="*/ 2147483647 h 21600"/>
                <a:gd name="T6" fmla="*/ 0 w 21600"/>
                <a:gd name="T7" fmla="*/ 2147483647 h 21600"/>
                <a:gd name="T8" fmla="*/ 2147483647 w 21600"/>
                <a:gd name="T9" fmla="*/ 0 h 21600"/>
                <a:gd name="T10" fmla="*/ 2147483647 w 21600"/>
                <a:gd name="T11" fmla="*/ 2147483647 h 21600"/>
                <a:gd name="T12" fmla="*/ 2147483647 w 21600"/>
                <a:gd name="T13" fmla="*/ 2147483647 h 21600"/>
                <a:gd name="T14" fmla="*/ 0 w 21600"/>
                <a:gd name="T15" fmla="*/ 2147483647 h 2160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1000 w 21600"/>
                <a:gd name="T25" fmla="*/ 1000 h 21600"/>
                <a:gd name="T26" fmla="*/ 20600 w 21600"/>
                <a:gd name="T27" fmla="*/ 20600 h 21600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1600" h="21600">
                  <a:moveTo>
                    <a:pt x="0" y="0"/>
                  </a:moveTo>
                  <a:lnTo>
                    <a:pt x="21600" y="0"/>
                  </a:lnTo>
                  <a:lnTo>
                    <a:pt x="21600" y="21600"/>
                  </a:lnTo>
                  <a:lnTo>
                    <a:pt x="0" y="21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0E1DF"/>
            </a:solidFill>
            <a:ln w="3175">
              <a:solidFill>
                <a:srgbClr val="A2A3A5"/>
              </a:solidFill>
              <a:miter lim="800000"/>
              <a:headEnd/>
              <a:tailEnd/>
            </a:ln>
          </p:spPr>
          <p:txBody>
            <a:bodyPr lIns="91413" tIns="45709" rIns="91413" bIns="45709"/>
            <a:lstStyle/>
            <a:p>
              <a:endParaRPr lang="de-DE"/>
            </a:p>
          </p:txBody>
        </p:sp>
        <p:sp>
          <p:nvSpPr>
            <p:cNvPr id="141" name="Oval 19">
              <a:extLst>
                <a:ext uri="{FF2B5EF4-FFF2-40B4-BE49-F238E27FC236}">
                  <a16:creationId xmlns:a16="http://schemas.microsoft.com/office/drawing/2014/main" id="{F4B4E951-18DD-4ED2-B449-2F275C5FBAD6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18"/>
              </p:custDataLst>
            </p:nvPr>
          </p:nvSpPr>
          <p:spPr bwMode="auto">
            <a:xfrm rot="5400000">
              <a:off x="325438" y="5716026"/>
              <a:ext cx="109538" cy="106363"/>
            </a:xfrm>
            <a:prstGeom prst="ellipse">
              <a:avLst/>
            </a:prstGeom>
            <a:gradFill rotWithShape="1">
              <a:gsLst>
                <a:gs pos="0">
                  <a:srgbClr val="E6E6E6"/>
                </a:gs>
                <a:gs pos="100000">
                  <a:srgbClr val="979797"/>
                </a:gs>
              </a:gsLst>
              <a:lin ang="2700000" scaled="1"/>
            </a:gradFill>
            <a:ln w="6350" algn="ctr">
              <a:solidFill>
                <a:srgbClr val="808080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rot="10800000" vert="eaVert"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142" name="Oval 49">
              <a:extLst>
                <a:ext uri="{FF2B5EF4-FFF2-40B4-BE49-F238E27FC236}">
                  <a16:creationId xmlns:a16="http://schemas.microsoft.com/office/drawing/2014/main" id="{03F2174E-B59F-4705-B683-77CC883FA5DB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19"/>
              </p:custDataLst>
            </p:nvPr>
          </p:nvSpPr>
          <p:spPr bwMode="auto">
            <a:xfrm rot="5400000">
              <a:off x="605631" y="5715233"/>
              <a:ext cx="109538" cy="107950"/>
            </a:xfrm>
            <a:prstGeom prst="ellipse">
              <a:avLst/>
            </a:prstGeom>
            <a:gradFill rotWithShape="1">
              <a:gsLst>
                <a:gs pos="0">
                  <a:srgbClr val="00FE00"/>
                </a:gs>
                <a:gs pos="100000">
                  <a:srgbClr val="00A600"/>
                </a:gs>
              </a:gsLst>
              <a:lin ang="2700000" scaled="1"/>
            </a:gradFill>
            <a:ln w="6350" algn="ctr">
              <a:solidFill>
                <a:srgbClr val="333333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143" name="Oval 49">
              <a:extLst>
                <a:ext uri="{FF2B5EF4-FFF2-40B4-BE49-F238E27FC236}">
                  <a16:creationId xmlns:a16="http://schemas.microsoft.com/office/drawing/2014/main" id="{A578144C-DDD7-49B5-9EF4-9478B51DE52E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20"/>
              </p:custDataLst>
            </p:nvPr>
          </p:nvSpPr>
          <p:spPr bwMode="auto">
            <a:xfrm rot="5400000">
              <a:off x="466725" y="5716027"/>
              <a:ext cx="109538" cy="106362"/>
            </a:xfrm>
            <a:prstGeom prst="ellipse">
              <a:avLst/>
            </a:prstGeom>
            <a:gradFill rotWithShape="1">
              <a:gsLst>
                <a:gs pos="0">
                  <a:srgbClr val="E6E6E6"/>
                </a:gs>
                <a:gs pos="100000">
                  <a:srgbClr val="979797"/>
                </a:gs>
              </a:gsLst>
              <a:lin ang="2700000" scaled="1"/>
            </a:gradFill>
            <a:ln w="6350" algn="ctr">
              <a:solidFill>
                <a:srgbClr val="808080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rot="10800000" vert="eaVert"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</p:grpSp>
      <p:grpSp>
        <p:nvGrpSpPr>
          <p:cNvPr id="144" name="Gruppieren 143">
            <a:extLst>
              <a:ext uri="{FF2B5EF4-FFF2-40B4-BE49-F238E27FC236}">
                <a16:creationId xmlns:a16="http://schemas.microsoft.com/office/drawing/2014/main" id="{242E96CB-3862-4EED-9F3A-254D6A9F8B16}"/>
              </a:ext>
            </a:extLst>
          </p:cNvPr>
          <p:cNvGrpSpPr/>
          <p:nvPr/>
        </p:nvGrpSpPr>
        <p:grpSpPr>
          <a:xfrm>
            <a:off x="7944051" y="3823033"/>
            <a:ext cx="500063" cy="157162"/>
            <a:chOff x="285750" y="5690627"/>
            <a:chExt cx="500063" cy="157162"/>
          </a:xfrm>
        </p:grpSpPr>
        <p:sp>
          <p:nvSpPr>
            <p:cNvPr id="145" name="desk1">
              <a:extLst>
                <a:ext uri="{FF2B5EF4-FFF2-40B4-BE49-F238E27FC236}">
                  <a16:creationId xmlns:a16="http://schemas.microsoft.com/office/drawing/2014/main" id="{BC78F9A7-09FA-4A8D-95EF-4B6DDA0A2178}"/>
                </a:ext>
              </a:extLst>
            </p:cNvPr>
            <p:cNvSpPr>
              <a:spLocks noChangeAspect="1" noEditPoints="1" noChangeArrowheads="1"/>
            </p:cNvSpPr>
            <p:nvPr>
              <p:custDataLst>
                <p:tags r:id="rId13"/>
              </p:custDataLst>
            </p:nvPr>
          </p:nvSpPr>
          <p:spPr bwMode="auto">
            <a:xfrm>
              <a:off x="285750" y="5690627"/>
              <a:ext cx="500063" cy="157162"/>
            </a:xfrm>
            <a:custGeom>
              <a:avLst/>
              <a:gdLst>
                <a:gd name="T0" fmla="*/ 0 w 21600"/>
                <a:gd name="T1" fmla="*/ 0 h 21600"/>
                <a:gd name="T2" fmla="*/ 2147483647 w 21600"/>
                <a:gd name="T3" fmla="*/ 0 h 21600"/>
                <a:gd name="T4" fmla="*/ 2147483647 w 21600"/>
                <a:gd name="T5" fmla="*/ 2147483647 h 21600"/>
                <a:gd name="T6" fmla="*/ 0 w 21600"/>
                <a:gd name="T7" fmla="*/ 2147483647 h 21600"/>
                <a:gd name="T8" fmla="*/ 2147483647 w 21600"/>
                <a:gd name="T9" fmla="*/ 0 h 21600"/>
                <a:gd name="T10" fmla="*/ 2147483647 w 21600"/>
                <a:gd name="T11" fmla="*/ 2147483647 h 21600"/>
                <a:gd name="T12" fmla="*/ 2147483647 w 21600"/>
                <a:gd name="T13" fmla="*/ 2147483647 h 21600"/>
                <a:gd name="T14" fmla="*/ 0 w 21600"/>
                <a:gd name="T15" fmla="*/ 2147483647 h 2160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1000 w 21600"/>
                <a:gd name="T25" fmla="*/ 1000 h 21600"/>
                <a:gd name="T26" fmla="*/ 20600 w 21600"/>
                <a:gd name="T27" fmla="*/ 20600 h 21600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1600" h="21600">
                  <a:moveTo>
                    <a:pt x="0" y="0"/>
                  </a:moveTo>
                  <a:lnTo>
                    <a:pt x="21600" y="0"/>
                  </a:lnTo>
                  <a:lnTo>
                    <a:pt x="21600" y="21600"/>
                  </a:lnTo>
                  <a:lnTo>
                    <a:pt x="0" y="21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0E1DF"/>
            </a:solidFill>
            <a:ln w="3175">
              <a:solidFill>
                <a:srgbClr val="A2A3A5"/>
              </a:solidFill>
              <a:miter lim="800000"/>
              <a:headEnd/>
              <a:tailEnd/>
            </a:ln>
          </p:spPr>
          <p:txBody>
            <a:bodyPr lIns="91413" tIns="45709" rIns="91413" bIns="45709"/>
            <a:lstStyle/>
            <a:p>
              <a:endParaRPr lang="de-DE"/>
            </a:p>
          </p:txBody>
        </p:sp>
        <p:sp>
          <p:nvSpPr>
            <p:cNvPr id="146" name="Oval 19">
              <a:extLst>
                <a:ext uri="{FF2B5EF4-FFF2-40B4-BE49-F238E27FC236}">
                  <a16:creationId xmlns:a16="http://schemas.microsoft.com/office/drawing/2014/main" id="{5FFB2FCE-9415-4981-9D1A-102EBFD7FD5F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14"/>
              </p:custDataLst>
            </p:nvPr>
          </p:nvSpPr>
          <p:spPr bwMode="auto">
            <a:xfrm rot="5400000">
              <a:off x="325438" y="5716026"/>
              <a:ext cx="109538" cy="106363"/>
            </a:xfrm>
            <a:prstGeom prst="ellipse">
              <a:avLst/>
            </a:prstGeom>
            <a:gradFill rotWithShape="1">
              <a:gsLst>
                <a:gs pos="0">
                  <a:srgbClr val="E6E6E6"/>
                </a:gs>
                <a:gs pos="100000">
                  <a:srgbClr val="979797"/>
                </a:gs>
              </a:gsLst>
              <a:lin ang="2700000" scaled="1"/>
            </a:gradFill>
            <a:ln w="6350" algn="ctr">
              <a:solidFill>
                <a:srgbClr val="808080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rot="10800000" vert="eaVert"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147" name="Oval 49">
              <a:extLst>
                <a:ext uri="{FF2B5EF4-FFF2-40B4-BE49-F238E27FC236}">
                  <a16:creationId xmlns:a16="http://schemas.microsoft.com/office/drawing/2014/main" id="{CABD313B-88CF-46E9-8541-527F1999329B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15"/>
              </p:custDataLst>
            </p:nvPr>
          </p:nvSpPr>
          <p:spPr bwMode="auto">
            <a:xfrm rot="5400000">
              <a:off x="605631" y="5715233"/>
              <a:ext cx="109538" cy="107950"/>
            </a:xfrm>
            <a:prstGeom prst="ellipse">
              <a:avLst/>
            </a:prstGeom>
            <a:gradFill rotWithShape="1">
              <a:gsLst>
                <a:gs pos="0">
                  <a:srgbClr val="00FE00"/>
                </a:gs>
                <a:gs pos="100000">
                  <a:srgbClr val="00A600"/>
                </a:gs>
              </a:gsLst>
              <a:lin ang="2700000" scaled="1"/>
            </a:gradFill>
            <a:ln w="6350" algn="ctr">
              <a:solidFill>
                <a:srgbClr val="333333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148" name="Oval 49">
              <a:extLst>
                <a:ext uri="{FF2B5EF4-FFF2-40B4-BE49-F238E27FC236}">
                  <a16:creationId xmlns:a16="http://schemas.microsoft.com/office/drawing/2014/main" id="{19D3BD95-2293-4F10-8E05-1A605ACA6C39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16"/>
              </p:custDataLst>
            </p:nvPr>
          </p:nvSpPr>
          <p:spPr bwMode="auto">
            <a:xfrm rot="5400000">
              <a:off x="466725" y="5716027"/>
              <a:ext cx="109538" cy="106362"/>
            </a:xfrm>
            <a:prstGeom prst="ellipse">
              <a:avLst/>
            </a:prstGeom>
            <a:gradFill rotWithShape="1">
              <a:gsLst>
                <a:gs pos="0">
                  <a:srgbClr val="E6E6E6"/>
                </a:gs>
                <a:gs pos="100000">
                  <a:srgbClr val="979797"/>
                </a:gs>
              </a:gsLst>
              <a:lin ang="2700000" scaled="1"/>
            </a:gradFill>
            <a:ln w="6350" algn="ctr">
              <a:solidFill>
                <a:srgbClr val="808080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rot="10800000" vert="eaVert"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</p:grpSp>
      <p:grpSp>
        <p:nvGrpSpPr>
          <p:cNvPr id="90" name="Gruppieren 89">
            <a:extLst>
              <a:ext uri="{FF2B5EF4-FFF2-40B4-BE49-F238E27FC236}">
                <a16:creationId xmlns:a16="http://schemas.microsoft.com/office/drawing/2014/main" id="{D5C51B98-543D-45A9-A34F-2B9E1C5A6A8F}"/>
              </a:ext>
            </a:extLst>
          </p:cNvPr>
          <p:cNvGrpSpPr/>
          <p:nvPr/>
        </p:nvGrpSpPr>
        <p:grpSpPr>
          <a:xfrm>
            <a:off x="7944051" y="4078247"/>
            <a:ext cx="500063" cy="157162"/>
            <a:chOff x="285750" y="5690627"/>
            <a:chExt cx="500063" cy="157162"/>
          </a:xfrm>
        </p:grpSpPr>
        <p:sp>
          <p:nvSpPr>
            <p:cNvPr id="91" name="desk1">
              <a:extLst>
                <a:ext uri="{FF2B5EF4-FFF2-40B4-BE49-F238E27FC236}">
                  <a16:creationId xmlns:a16="http://schemas.microsoft.com/office/drawing/2014/main" id="{F0E79170-1E5E-47F2-BD7A-47C07C58C82B}"/>
                </a:ext>
              </a:extLst>
            </p:cNvPr>
            <p:cNvSpPr>
              <a:spLocks noChangeAspect="1" noEditPoints="1"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285750" y="5690627"/>
              <a:ext cx="500063" cy="157162"/>
            </a:xfrm>
            <a:custGeom>
              <a:avLst/>
              <a:gdLst>
                <a:gd name="T0" fmla="*/ 0 w 21600"/>
                <a:gd name="T1" fmla="*/ 0 h 21600"/>
                <a:gd name="T2" fmla="*/ 2147483647 w 21600"/>
                <a:gd name="T3" fmla="*/ 0 h 21600"/>
                <a:gd name="T4" fmla="*/ 2147483647 w 21600"/>
                <a:gd name="T5" fmla="*/ 2147483647 h 21600"/>
                <a:gd name="T6" fmla="*/ 0 w 21600"/>
                <a:gd name="T7" fmla="*/ 2147483647 h 21600"/>
                <a:gd name="T8" fmla="*/ 2147483647 w 21600"/>
                <a:gd name="T9" fmla="*/ 0 h 21600"/>
                <a:gd name="T10" fmla="*/ 2147483647 w 21600"/>
                <a:gd name="T11" fmla="*/ 2147483647 h 21600"/>
                <a:gd name="T12" fmla="*/ 2147483647 w 21600"/>
                <a:gd name="T13" fmla="*/ 2147483647 h 21600"/>
                <a:gd name="T14" fmla="*/ 0 w 21600"/>
                <a:gd name="T15" fmla="*/ 2147483647 h 2160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1000 w 21600"/>
                <a:gd name="T25" fmla="*/ 1000 h 21600"/>
                <a:gd name="T26" fmla="*/ 20600 w 21600"/>
                <a:gd name="T27" fmla="*/ 20600 h 21600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1600" h="21600">
                  <a:moveTo>
                    <a:pt x="0" y="0"/>
                  </a:moveTo>
                  <a:lnTo>
                    <a:pt x="21600" y="0"/>
                  </a:lnTo>
                  <a:lnTo>
                    <a:pt x="21600" y="21600"/>
                  </a:lnTo>
                  <a:lnTo>
                    <a:pt x="0" y="21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0E1DF"/>
            </a:solidFill>
            <a:ln w="3175">
              <a:solidFill>
                <a:srgbClr val="A2A3A5"/>
              </a:solidFill>
              <a:miter lim="800000"/>
              <a:headEnd/>
              <a:tailEnd/>
            </a:ln>
          </p:spPr>
          <p:txBody>
            <a:bodyPr lIns="91413" tIns="45709" rIns="91413" bIns="45709"/>
            <a:lstStyle/>
            <a:p>
              <a:endParaRPr lang="de-DE"/>
            </a:p>
          </p:txBody>
        </p:sp>
        <p:sp>
          <p:nvSpPr>
            <p:cNvPr id="92" name="Oval 19">
              <a:extLst>
                <a:ext uri="{FF2B5EF4-FFF2-40B4-BE49-F238E27FC236}">
                  <a16:creationId xmlns:a16="http://schemas.microsoft.com/office/drawing/2014/main" id="{E6F68A3E-4DF0-4281-9E97-86F67E5F2266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10"/>
              </p:custDataLst>
            </p:nvPr>
          </p:nvSpPr>
          <p:spPr bwMode="auto">
            <a:xfrm rot="5400000">
              <a:off x="325438" y="5716026"/>
              <a:ext cx="109538" cy="106363"/>
            </a:xfrm>
            <a:prstGeom prst="ellipse">
              <a:avLst/>
            </a:prstGeom>
            <a:gradFill rotWithShape="1">
              <a:gsLst>
                <a:gs pos="0">
                  <a:srgbClr val="E6E6E6"/>
                </a:gs>
                <a:gs pos="100000">
                  <a:srgbClr val="979797"/>
                </a:gs>
              </a:gsLst>
              <a:lin ang="2700000" scaled="1"/>
            </a:gradFill>
            <a:ln w="6350" algn="ctr">
              <a:solidFill>
                <a:srgbClr val="808080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rot="10800000" vert="eaVert"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93" name="Oval 49">
              <a:extLst>
                <a:ext uri="{FF2B5EF4-FFF2-40B4-BE49-F238E27FC236}">
                  <a16:creationId xmlns:a16="http://schemas.microsoft.com/office/drawing/2014/main" id="{F704ED2B-B9A8-471E-9651-978E5C099D1C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11"/>
              </p:custDataLst>
            </p:nvPr>
          </p:nvSpPr>
          <p:spPr bwMode="auto">
            <a:xfrm rot="5400000">
              <a:off x="605631" y="5715233"/>
              <a:ext cx="109538" cy="107950"/>
            </a:xfrm>
            <a:prstGeom prst="ellipse">
              <a:avLst/>
            </a:prstGeom>
            <a:gradFill rotWithShape="1">
              <a:gsLst>
                <a:gs pos="0">
                  <a:srgbClr val="00FE00"/>
                </a:gs>
                <a:gs pos="100000">
                  <a:srgbClr val="00A600"/>
                </a:gs>
              </a:gsLst>
              <a:lin ang="2700000" scaled="1"/>
            </a:gradFill>
            <a:ln w="6350" algn="ctr">
              <a:solidFill>
                <a:srgbClr val="333333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164" name="Oval 49">
              <a:extLst>
                <a:ext uri="{FF2B5EF4-FFF2-40B4-BE49-F238E27FC236}">
                  <a16:creationId xmlns:a16="http://schemas.microsoft.com/office/drawing/2014/main" id="{60BD66DF-06E8-41F7-B109-1597CCE5C031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12"/>
              </p:custDataLst>
            </p:nvPr>
          </p:nvSpPr>
          <p:spPr bwMode="auto">
            <a:xfrm rot="5400000">
              <a:off x="466725" y="5716027"/>
              <a:ext cx="109538" cy="106362"/>
            </a:xfrm>
            <a:prstGeom prst="ellipse">
              <a:avLst/>
            </a:prstGeom>
            <a:gradFill rotWithShape="1">
              <a:gsLst>
                <a:gs pos="0">
                  <a:srgbClr val="E6E6E6"/>
                </a:gs>
                <a:gs pos="100000">
                  <a:srgbClr val="979797"/>
                </a:gs>
              </a:gsLst>
              <a:lin ang="2700000" scaled="1"/>
            </a:gradFill>
            <a:ln w="6350" algn="ctr">
              <a:solidFill>
                <a:srgbClr val="808080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rot="10800000" vert="eaVert"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</p:grpSp>
      <p:grpSp>
        <p:nvGrpSpPr>
          <p:cNvPr id="165" name="Gruppieren 164">
            <a:extLst>
              <a:ext uri="{FF2B5EF4-FFF2-40B4-BE49-F238E27FC236}">
                <a16:creationId xmlns:a16="http://schemas.microsoft.com/office/drawing/2014/main" id="{EDC61D8F-9561-45BF-B9B8-A7988BFEAB38}"/>
              </a:ext>
            </a:extLst>
          </p:cNvPr>
          <p:cNvGrpSpPr/>
          <p:nvPr/>
        </p:nvGrpSpPr>
        <p:grpSpPr>
          <a:xfrm>
            <a:off x="7944050" y="4334299"/>
            <a:ext cx="500063" cy="157162"/>
            <a:chOff x="285750" y="5690627"/>
            <a:chExt cx="500063" cy="157162"/>
          </a:xfrm>
        </p:grpSpPr>
        <p:sp>
          <p:nvSpPr>
            <p:cNvPr id="166" name="desk1">
              <a:extLst>
                <a:ext uri="{FF2B5EF4-FFF2-40B4-BE49-F238E27FC236}">
                  <a16:creationId xmlns:a16="http://schemas.microsoft.com/office/drawing/2014/main" id="{74837596-55E3-4F24-8048-7BEEA12554CE}"/>
                </a:ext>
              </a:extLst>
            </p:cNvPr>
            <p:cNvSpPr>
              <a:spLocks noChangeAspect="1" noEditPoints="1"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285750" y="5690627"/>
              <a:ext cx="500063" cy="157162"/>
            </a:xfrm>
            <a:custGeom>
              <a:avLst/>
              <a:gdLst>
                <a:gd name="T0" fmla="*/ 0 w 21600"/>
                <a:gd name="T1" fmla="*/ 0 h 21600"/>
                <a:gd name="T2" fmla="*/ 2147483647 w 21600"/>
                <a:gd name="T3" fmla="*/ 0 h 21600"/>
                <a:gd name="T4" fmla="*/ 2147483647 w 21600"/>
                <a:gd name="T5" fmla="*/ 2147483647 h 21600"/>
                <a:gd name="T6" fmla="*/ 0 w 21600"/>
                <a:gd name="T7" fmla="*/ 2147483647 h 21600"/>
                <a:gd name="T8" fmla="*/ 2147483647 w 21600"/>
                <a:gd name="T9" fmla="*/ 0 h 21600"/>
                <a:gd name="T10" fmla="*/ 2147483647 w 21600"/>
                <a:gd name="T11" fmla="*/ 2147483647 h 21600"/>
                <a:gd name="T12" fmla="*/ 2147483647 w 21600"/>
                <a:gd name="T13" fmla="*/ 2147483647 h 21600"/>
                <a:gd name="T14" fmla="*/ 0 w 21600"/>
                <a:gd name="T15" fmla="*/ 2147483647 h 2160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1000 w 21600"/>
                <a:gd name="T25" fmla="*/ 1000 h 21600"/>
                <a:gd name="T26" fmla="*/ 20600 w 21600"/>
                <a:gd name="T27" fmla="*/ 20600 h 21600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1600" h="21600">
                  <a:moveTo>
                    <a:pt x="0" y="0"/>
                  </a:moveTo>
                  <a:lnTo>
                    <a:pt x="21600" y="0"/>
                  </a:lnTo>
                  <a:lnTo>
                    <a:pt x="21600" y="21600"/>
                  </a:lnTo>
                  <a:lnTo>
                    <a:pt x="0" y="21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0E1DF"/>
            </a:solidFill>
            <a:ln w="3175">
              <a:solidFill>
                <a:srgbClr val="A2A3A5"/>
              </a:solidFill>
              <a:miter lim="800000"/>
              <a:headEnd/>
              <a:tailEnd/>
            </a:ln>
          </p:spPr>
          <p:txBody>
            <a:bodyPr lIns="91413" tIns="45709" rIns="91413" bIns="45709"/>
            <a:lstStyle/>
            <a:p>
              <a:endParaRPr lang="de-DE"/>
            </a:p>
          </p:txBody>
        </p:sp>
        <p:sp>
          <p:nvSpPr>
            <p:cNvPr id="167" name="Oval 19">
              <a:extLst>
                <a:ext uri="{FF2B5EF4-FFF2-40B4-BE49-F238E27FC236}">
                  <a16:creationId xmlns:a16="http://schemas.microsoft.com/office/drawing/2014/main" id="{3E63FEDC-E3A8-420A-909F-3734EF2064E4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6"/>
              </p:custDataLst>
            </p:nvPr>
          </p:nvSpPr>
          <p:spPr bwMode="auto">
            <a:xfrm rot="5400000">
              <a:off x="325438" y="5716026"/>
              <a:ext cx="109538" cy="106363"/>
            </a:xfrm>
            <a:prstGeom prst="ellipse">
              <a:avLst/>
            </a:prstGeom>
            <a:gradFill rotWithShape="1">
              <a:gsLst>
                <a:gs pos="0">
                  <a:srgbClr val="E6E6E6"/>
                </a:gs>
                <a:gs pos="100000">
                  <a:srgbClr val="979797"/>
                </a:gs>
              </a:gsLst>
              <a:lin ang="2700000" scaled="1"/>
            </a:gradFill>
            <a:ln w="6350" algn="ctr">
              <a:solidFill>
                <a:srgbClr val="808080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rot="10800000" vert="eaVert"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168" name="Oval 49">
              <a:extLst>
                <a:ext uri="{FF2B5EF4-FFF2-40B4-BE49-F238E27FC236}">
                  <a16:creationId xmlns:a16="http://schemas.microsoft.com/office/drawing/2014/main" id="{75C597ED-F3E4-4E26-BF6B-F71B0BBE7E73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7"/>
              </p:custDataLst>
            </p:nvPr>
          </p:nvSpPr>
          <p:spPr bwMode="auto">
            <a:xfrm rot="5400000">
              <a:off x="605631" y="5715233"/>
              <a:ext cx="109538" cy="107950"/>
            </a:xfrm>
            <a:prstGeom prst="ellipse">
              <a:avLst/>
            </a:prstGeom>
            <a:gradFill rotWithShape="1">
              <a:gsLst>
                <a:gs pos="0">
                  <a:srgbClr val="00FE00"/>
                </a:gs>
                <a:gs pos="100000">
                  <a:srgbClr val="00A600"/>
                </a:gs>
              </a:gsLst>
              <a:lin ang="2700000" scaled="1"/>
            </a:gradFill>
            <a:ln w="6350" algn="ctr">
              <a:solidFill>
                <a:srgbClr val="333333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169" name="Oval 49">
              <a:extLst>
                <a:ext uri="{FF2B5EF4-FFF2-40B4-BE49-F238E27FC236}">
                  <a16:creationId xmlns:a16="http://schemas.microsoft.com/office/drawing/2014/main" id="{E32F618D-D515-41EA-B311-0DE559E3B89B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8"/>
              </p:custDataLst>
            </p:nvPr>
          </p:nvSpPr>
          <p:spPr bwMode="auto">
            <a:xfrm rot="5400000">
              <a:off x="466725" y="5716027"/>
              <a:ext cx="109538" cy="106362"/>
            </a:xfrm>
            <a:prstGeom prst="ellipse">
              <a:avLst/>
            </a:prstGeom>
            <a:gradFill rotWithShape="1">
              <a:gsLst>
                <a:gs pos="0">
                  <a:srgbClr val="E6E6E6"/>
                </a:gs>
                <a:gs pos="100000">
                  <a:srgbClr val="979797"/>
                </a:gs>
              </a:gsLst>
              <a:lin ang="2700000" scaled="1"/>
            </a:gradFill>
            <a:ln w="6350" algn="ctr">
              <a:solidFill>
                <a:srgbClr val="808080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rot="10800000" vert="eaVert"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</p:grpSp>
      <p:grpSp>
        <p:nvGrpSpPr>
          <p:cNvPr id="170" name="Gruppieren 169">
            <a:extLst>
              <a:ext uri="{FF2B5EF4-FFF2-40B4-BE49-F238E27FC236}">
                <a16:creationId xmlns:a16="http://schemas.microsoft.com/office/drawing/2014/main" id="{06B3A34C-C912-4296-88C5-B8207515D897}"/>
              </a:ext>
            </a:extLst>
          </p:cNvPr>
          <p:cNvGrpSpPr/>
          <p:nvPr/>
        </p:nvGrpSpPr>
        <p:grpSpPr>
          <a:xfrm>
            <a:off x="7944049" y="4605563"/>
            <a:ext cx="500063" cy="157162"/>
            <a:chOff x="285750" y="5690627"/>
            <a:chExt cx="500063" cy="157162"/>
          </a:xfrm>
        </p:grpSpPr>
        <p:sp>
          <p:nvSpPr>
            <p:cNvPr id="171" name="desk1">
              <a:extLst>
                <a:ext uri="{FF2B5EF4-FFF2-40B4-BE49-F238E27FC236}">
                  <a16:creationId xmlns:a16="http://schemas.microsoft.com/office/drawing/2014/main" id="{EE9B788B-BCA7-403E-AC03-F36EDDC08407}"/>
                </a:ext>
              </a:extLst>
            </p:cNvPr>
            <p:cNvSpPr>
              <a:spLocks noChangeAspect="1" noEditPoints="1"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285750" y="5690627"/>
              <a:ext cx="500063" cy="157162"/>
            </a:xfrm>
            <a:custGeom>
              <a:avLst/>
              <a:gdLst>
                <a:gd name="T0" fmla="*/ 0 w 21600"/>
                <a:gd name="T1" fmla="*/ 0 h 21600"/>
                <a:gd name="T2" fmla="*/ 2147483647 w 21600"/>
                <a:gd name="T3" fmla="*/ 0 h 21600"/>
                <a:gd name="T4" fmla="*/ 2147483647 w 21600"/>
                <a:gd name="T5" fmla="*/ 2147483647 h 21600"/>
                <a:gd name="T6" fmla="*/ 0 w 21600"/>
                <a:gd name="T7" fmla="*/ 2147483647 h 21600"/>
                <a:gd name="T8" fmla="*/ 2147483647 w 21600"/>
                <a:gd name="T9" fmla="*/ 0 h 21600"/>
                <a:gd name="T10" fmla="*/ 2147483647 w 21600"/>
                <a:gd name="T11" fmla="*/ 2147483647 h 21600"/>
                <a:gd name="T12" fmla="*/ 2147483647 w 21600"/>
                <a:gd name="T13" fmla="*/ 2147483647 h 21600"/>
                <a:gd name="T14" fmla="*/ 0 w 21600"/>
                <a:gd name="T15" fmla="*/ 2147483647 h 2160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1000 w 21600"/>
                <a:gd name="T25" fmla="*/ 1000 h 21600"/>
                <a:gd name="T26" fmla="*/ 20600 w 21600"/>
                <a:gd name="T27" fmla="*/ 20600 h 21600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1600" h="21600">
                  <a:moveTo>
                    <a:pt x="0" y="0"/>
                  </a:moveTo>
                  <a:lnTo>
                    <a:pt x="21600" y="0"/>
                  </a:lnTo>
                  <a:lnTo>
                    <a:pt x="21600" y="21600"/>
                  </a:lnTo>
                  <a:lnTo>
                    <a:pt x="0" y="21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0E1DF"/>
            </a:solidFill>
            <a:ln w="3175">
              <a:solidFill>
                <a:srgbClr val="A2A3A5"/>
              </a:solidFill>
              <a:miter lim="800000"/>
              <a:headEnd/>
              <a:tailEnd/>
            </a:ln>
          </p:spPr>
          <p:txBody>
            <a:bodyPr lIns="91413" tIns="45709" rIns="91413" bIns="45709"/>
            <a:lstStyle/>
            <a:p>
              <a:endParaRPr lang="de-DE"/>
            </a:p>
          </p:txBody>
        </p:sp>
        <p:sp>
          <p:nvSpPr>
            <p:cNvPr id="172" name="Oval 19">
              <a:extLst>
                <a:ext uri="{FF2B5EF4-FFF2-40B4-BE49-F238E27FC236}">
                  <a16:creationId xmlns:a16="http://schemas.microsoft.com/office/drawing/2014/main" id="{72E15757-A498-4085-A5AC-5656BEDBA7DA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2"/>
              </p:custDataLst>
            </p:nvPr>
          </p:nvSpPr>
          <p:spPr bwMode="auto">
            <a:xfrm rot="5400000">
              <a:off x="325438" y="5716026"/>
              <a:ext cx="109538" cy="106363"/>
            </a:xfrm>
            <a:prstGeom prst="ellipse">
              <a:avLst/>
            </a:prstGeom>
            <a:gradFill rotWithShape="1">
              <a:gsLst>
                <a:gs pos="0">
                  <a:srgbClr val="E6E6E6"/>
                </a:gs>
                <a:gs pos="100000">
                  <a:srgbClr val="979797"/>
                </a:gs>
              </a:gsLst>
              <a:lin ang="2700000" scaled="1"/>
            </a:gradFill>
            <a:ln w="6350" algn="ctr">
              <a:solidFill>
                <a:srgbClr val="808080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rot="10800000" vert="eaVert"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173" name="Oval 49">
              <a:extLst>
                <a:ext uri="{FF2B5EF4-FFF2-40B4-BE49-F238E27FC236}">
                  <a16:creationId xmlns:a16="http://schemas.microsoft.com/office/drawing/2014/main" id="{C1405FC2-3D1B-42E8-80FA-BEDC98D7BD0C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3"/>
              </p:custDataLst>
            </p:nvPr>
          </p:nvSpPr>
          <p:spPr bwMode="auto">
            <a:xfrm rot="5400000">
              <a:off x="605631" y="5715233"/>
              <a:ext cx="109538" cy="107950"/>
            </a:xfrm>
            <a:prstGeom prst="ellipse">
              <a:avLst/>
            </a:prstGeom>
            <a:gradFill rotWithShape="1">
              <a:gsLst>
                <a:gs pos="0">
                  <a:srgbClr val="00FE00"/>
                </a:gs>
                <a:gs pos="100000">
                  <a:srgbClr val="00A600"/>
                </a:gs>
              </a:gsLst>
              <a:lin ang="2700000" scaled="1"/>
            </a:gradFill>
            <a:ln w="6350" algn="ctr">
              <a:solidFill>
                <a:srgbClr val="333333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174" name="Oval 49">
              <a:extLst>
                <a:ext uri="{FF2B5EF4-FFF2-40B4-BE49-F238E27FC236}">
                  <a16:creationId xmlns:a16="http://schemas.microsoft.com/office/drawing/2014/main" id="{611C6A96-FD28-413D-B236-15060EE69EC9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4"/>
              </p:custDataLst>
            </p:nvPr>
          </p:nvSpPr>
          <p:spPr bwMode="auto">
            <a:xfrm rot="5400000">
              <a:off x="466725" y="5716027"/>
              <a:ext cx="109538" cy="106362"/>
            </a:xfrm>
            <a:prstGeom prst="ellipse">
              <a:avLst/>
            </a:prstGeom>
            <a:gradFill rotWithShape="1">
              <a:gsLst>
                <a:gs pos="0">
                  <a:srgbClr val="E6E6E6"/>
                </a:gs>
                <a:gs pos="100000">
                  <a:srgbClr val="979797"/>
                </a:gs>
              </a:gsLst>
              <a:lin ang="2700000" scaled="1"/>
            </a:gradFill>
            <a:ln w="6350" algn="ctr">
              <a:solidFill>
                <a:srgbClr val="808080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rot="10800000" vert="eaVert"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442018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E6DWjuqPkakIvHDZvxoVQ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uxcJUJwkk6Pg3a9A9nqKQ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b55r5hfUOf2GxG4WYkH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b55r5hfUOf2GxG4WYkH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b55r5hfUOf2GxG4WYkH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E6DWjuqPkakIvHDZvxoV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uxcJUJwkk6Pg3a9A9nqK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b55r5hfUOf2GxG4WYkH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b55r5hfUOf2GxG4WYkH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E6DWjuqPkakIvHDZvxoV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uxcJUJwkk6Pg3a9A9nqK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b55r5hfUOf2GxG4WYkH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uxcJUJwkk6Pg3a9A9nqK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b55r5hfUOf2GxG4WYkH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E6DWjuqPkakIvHDZvxoV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uxcJUJwkk6Pg3a9A9nqK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b55r5hfUOf2GxG4WYkH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b55r5hfUOf2GxG4WYkH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E6DWjuqPkakIvHDZvxoV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uxcJUJwkk6Pg3a9A9nqK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b55r5hfUOf2GxG4WYkH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b55r5hfUOf2GxG4WYkH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E6DWjuqPkakIvHDZvxoV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b55r5hfUOf2GxG4WYkH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uxcJUJwkk6Pg3a9A9nqK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b55r5hfUOf2GxG4WYkH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b55r5hfUOf2GxG4WYkH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E6DWjuqPkakIvHDZvxoV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uxcJUJwkk6Pg3a9A9nqK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b55r5hfUOf2GxG4WYkH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b55r5hfUOf2GxG4WYkH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E6DWjuqPkakIvHDZvxoV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uxcJUJwkk6Pg3a9A9nqK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b55r5hfUOf2GxG4WYkH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b55r5hfUOf2GxG4WYkH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b55r5hfUOf2GxG4WYkH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E6DWjuqPkakIvHDZvxoV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uxcJUJwkk6Pg3a9A9nqK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b55r5hfUOf2GxG4WYkH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b55r5hfUOf2GxG4WYkH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E6DWjuqPkakIvHDZvxoV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b55r5hfUOf2GxG4WYkH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b55r5hfUOf2GxG4WYkH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2kGABh4kaY7lKU4cwfy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E6DWjuqPkakIvHDZvxoV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E6DWjuqPkakIvHDZvxoVQ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b55r5hfUOf2GxG4WYkH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b55r5hfUOf2GxG4WYkH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2kGABh4kaY7lKU4cwfy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E6DWjuqPkakIvHDZvxoV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b55r5hfUOf2GxG4WYkH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b55r5hfUOf2GxG4WYkH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2kGABh4kaY7lKU4cwfy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E6DWjuqPkakIvHDZvxoV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b55r5hfUOf2GxG4WYkH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b55r5hfUOf2GxG4WYkH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uxcJUJwkk6Pg3a9A9nqKQ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2kGABh4kaY7lKU4cwfy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E6DWjuqPkakIvHDZvxoV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fZxXkqclUaPNwx7M0O0j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b55r5hfUOf2GxG4WYkH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b55r5hfUOf2GxG4WYkH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E6DWjuqPkakIvHDZvxoVQ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uxcJUJwkk6Pg3a9A9nqK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b55r5hfUOf2GxG4WYkH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b55r5hfUOf2GxG4WYkH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E6DWjuqPkakIvHDZvxoV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b55r5hfUOf2GxG4WYkHA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fZxXkqclUaPNwx7M0O0j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b55r5hfUOf2GxG4WYkH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b55r5hfUOf2GxG4WYkHA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E6DWjuqPkakIvHDZvxoVQ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b55r5hfUOf2GxG4WYkH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b55r5hfUOf2GxG4WYkH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2kGABh4kaY7lKU4cwfyQ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E6DWjuqPkakIvHDZvxoVQ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b55r5hfUOf2GxG4WYkHA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b55r5hfUOf2GxG4WYkH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b55r5hfUOf2GxG4WYkHA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2kGABh4kaY7lKU4cwfyQ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E6DWjuqPkakIvHDZvxoVQ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b55r5hfUOf2GxG4WYkHA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b55r5hfUOf2GxG4WYkHA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2kGABh4kaY7lKU4cwfyQ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E6DWjuqPkakIvHDZvxoVQ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b55r5hfUOf2GxG4WYkH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b55r5hfUOf2GxG4WYkH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2kGABh4kaY7lKU4cwfyQ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E6DWjuqPkakIvHDZvxoV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E6DWjuqPkakIvHDZvxoVQ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b55r5hfUOf2GxG4WYkH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b55r5hfUOf2GxG4WYkHA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2kGABh4kaY7lKU4cwfyQ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E6DWjuqPkakIvHDZvxoVQ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fZxXkqclUaPNwx7M0O0jw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b55r5hfUOf2GxG4WYkH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b55r5hfUOf2GxG4WYkHA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E6DWjuqPkakIvHDZvxoVQ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uxcJUJwkk6Pg3a9A9nqKQ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b55r5hfUOf2GxG4WYkHA"/>
</p:tagLst>
</file>

<file path=ppt/theme/theme1.xml><?xml version="1.0" encoding="utf-8"?>
<a:theme xmlns:a="http://schemas.openxmlformats.org/drawingml/2006/main" name="Leere Präsentation">
  <a:themeElements>
    <a:clrScheme name="Leere Präsentation 2">
      <a:dk1>
        <a:srgbClr val="000000"/>
      </a:dk1>
      <a:lt1>
        <a:srgbClr val="FFFFFF"/>
      </a:lt1>
      <a:dk2>
        <a:srgbClr val="005EAD"/>
      </a:dk2>
      <a:lt2>
        <a:srgbClr val="000000"/>
      </a:lt2>
      <a:accent1>
        <a:srgbClr val="C0C0C0"/>
      </a:accent1>
      <a:accent2>
        <a:srgbClr val="005EAD"/>
      </a:accent2>
      <a:accent3>
        <a:srgbClr val="FFFFFF"/>
      </a:accent3>
      <a:accent4>
        <a:srgbClr val="000000"/>
      </a:accent4>
      <a:accent5>
        <a:srgbClr val="DCDCDC"/>
      </a:accent5>
      <a:accent6>
        <a:srgbClr val="00549C"/>
      </a:accent6>
      <a:hlink>
        <a:srgbClr val="B2B2B2"/>
      </a:hlink>
      <a:folHlink>
        <a:srgbClr val="000000"/>
      </a:folHlink>
    </a:clrScheme>
    <a:fontScheme name="Leere Präsentation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1270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="" xmlns:a14="http://schemas.microsoft.com/office/drawing/2010/main">
              <a:solidFill>
                <a:schemeClr val="accent2"/>
              </a:solidFill>
            </a14:hiddenFill>
          </a:ext>
          <a:ext uri="{AF507438-7753-43e0-B8FC-AC1667EBCBE1}">
            <a14:hiddenEffects xmlns="" xmlns:a14="http://schemas.microsoft.com/office/drawing/2010/main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Arial" charset="0"/>
            <a:ea typeface="ＭＳ Ｐゴシック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1270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="" xmlns:a14="http://schemas.microsoft.com/office/drawing/2010/main">
              <a:solidFill>
                <a:schemeClr val="accent2"/>
              </a:solidFill>
            </a14:hiddenFill>
          </a:ext>
          <a:ext uri="{AF507438-7753-43e0-B8FC-AC1667EBCBE1}">
            <a14:hiddenEffects xmlns="" xmlns:a14="http://schemas.microsoft.com/office/drawing/2010/main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Arial" charset="0"/>
            <a:ea typeface="ＭＳ Ｐゴシック" charset="0"/>
          </a:defRPr>
        </a:defPPr>
      </a:lstStyle>
    </a:lnDef>
  </a:objectDefaults>
  <a:extraClrSchemeLst>
    <a:extraClrScheme>
      <a:clrScheme name="Leere Präsentation 1">
        <a:dk1>
          <a:srgbClr val="000000"/>
        </a:dk1>
        <a:lt1>
          <a:srgbClr val="FFFFFF"/>
        </a:lt1>
        <a:dk2>
          <a:srgbClr val="0033CC"/>
        </a:dk2>
        <a:lt2>
          <a:srgbClr val="000000"/>
        </a:lt2>
        <a:accent1>
          <a:srgbClr val="3399FF"/>
        </a:accent1>
        <a:accent2>
          <a:srgbClr val="0033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002DB9"/>
        </a:accent6>
        <a:hlink>
          <a:srgbClr val="CC00CC"/>
        </a:hlink>
        <a:folHlink>
          <a:srgbClr val="00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ere Präsentation 2">
        <a:dk1>
          <a:srgbClr val="000000"/>
        </a:dk1>
        <a:lt1>
          <a:srgbClr val="FFFFFF"/>
        </a:lt1>
        <a:dk2>
          <a:srgbClr val="005EAD"/>
        </a:dk2>
        <a:lt2>
          <a:srgbClr val="000000"/>
        </a:lt2>
        <a:accent1>
          <a:srgbClr val="C0C0C0"/>
        </a:accent1>
        <a:accent2>
          <a:srgbClr val="005EAD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49C"/>
        </a:accent6>
        <a:hlink>
          <a:srgbClr val="B2B2B2"/>
        </a:hlink>
        <a:folHlink>
          <a:srgbClr val="00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wpcl1_Leere Präsentation">
  <a:themeElements>
    <a:clrScheme name="Leere Präsentation 2">
      <a:dk1>
        <a:srgbClr val="000000"/>
      </a:dk1>
      <a:lt1>
        <a:srgbClr val="FFFFFF"/>
      </a:lt1>
      <a:dk2>
        <a:srgbClr val="005EAD"/>
      </a:dk2>
      <a:lt2>
        <a:srgbClr val="000000"/>
      </a:lt2>
      <a:accent1>
        <a:srgbClr val="C0C0C0"/>
      </a:accent1>
      <a:accent2>
        <a:srgbClr val="005EAD"/>
      </a:accent2>
      <a:accent3>
        <a:srgbClr val="FFFFFF"/>
      </a:accent3>
      <a:accent4>
        <a:srgbClr val="000000"/>
      </a:accent4>
      <a:accent5>
        <a:srgbClr val="DCDCDC"/>
      </a:accent5>
      <a:accent6>
        <a:srgbClr val="00549C"/>
      </a:accent6>
      <a:hlink>
        <a:srgbClr val="B2B2B2"/>
      </a:hlink>
      <a:folHlink>
        <a:srgbClr val="000000"/>
      </a:folHlink>
    </a:clrScheme>
    <a:fontScheme name="Leere Präsentation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1270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="" xmlns:a14="http://schemas.microsoft.com/office/drawing/2010/main">
              <a:solidFill>
                <a:schemeClr val="accent2"/>
              </a:solidFill>
            </a14:hiddenFill>
          </a:ext>
          <a:ext uri="{AF507438-7753-43e0-B8FC-AC1667EBCBE1}">
            <a14:hiddenEffects xmlns="" xmlns:a14="http://schemas.microsoft.com/office/drawing/2010/main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Arial" charset="0"/>
            <a:ea typeface="ＭＳ Ｐゴシック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1270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="" xmlns:a14="http://schemas.microsoft.com/office/drawing/2010/main">
              <a:solidFill>
                <a:schemeClr val="accent2"/>
              </a:solidFill>
            </a14:hiddenFill>
          </a:ext>
          <a:ext uri="{AF507438-7753-43e0-B8FC-AC1667EBCBE1}">
            <a14:hiddenEffects xmlns="" xmlns:a14="http://schemas.microsoft.com/office/drawing/2010/main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Arial" charset="0"/>
            <a:ea typeface="ＭＳ Ｐゴシック" charset="0"/>
          </a:defRPr>
        </a:defPPr>
      </a:lstStyle>
    </a:lnDef>
  </a:objectDefaults>
  <a:extraClrSchemeLst>
    <a:extraClrScheme>
      <a:clrScheme name="Leere Präsentation 1">
        <a:dk1>
          <a:srgbClr val="000000"/>
        </a:dk1>
        <a:lt1>
          <a:srgbClr val="FFFFFF"/>
        </a:lt1>
        <a:dk2>
          <a:srgbClr val="0033CC"/>
        </a:dk2>
        <a:lt2>
          <a:srgbClr val="000000"/>
        </a:lt2>
        <a:accent1>
          <a:srgbClr val="3399FF"/>
        </a:accent1>
        <a:accent2>
          <a:srgbClr val="0033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002DB9"/>
        </a:accent6>
        <a:hlink>
          <a:srgbClr val="CC00CC"/>
        </a:hlink>
        <a:folHlink>
          <a:srgbClr val="00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ere Präsentation 2">
        <a:dk1>
          <a:srgbClr val="000000"/>
        </a:dk1>
        <a:lt1>
          <a:srgbClr val="FFFFFF"/>
        </a:lt1>
        <a:dk2>
          <a:srgbClr val="005EAD"/>
        </a:dk2>
        <a:lt2>
          <a:srgbClr val="000000"/>
        </a:lt2>
        <a:accent1>
          <a:srgbClr val="C0C0C0"/>
        </a:accent1>
        <a:accent2>
          <a:srgbClr val="005EAD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49C"/>
        </a:accent6>
        <a:hlink>
          <a:srgbClr val="B2B2B2"/>
        </a:hlink>
        <a:folHlink>
          <a:srgbClr val="00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Macintosh HD:PROGRAMME:Microsoft Office 98:Vorlagen:Leere Präsentation</Template>
  <TotalTime>0</TotalTime>
  <Words>878</Words>
  <Application>Microsoft Office PowerPoint</Application>
  <PresentationFormat>Bildschirmpräsentation (4:3)</PresentationFormat>
  <Paragraphs>295</Paragraphs>
  <Slides>16</Slides>
  <Notes>13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6</vt:i4>
      </vt:variant>
      <vt:variant>
        <vt:lpstr>Design</vt:lpstr>
      </vt:variant>
      <vt:variant>
        <vt:i4>2</vt:i4>
      </vt:variant>
      <vt:variant>
        <vt:lpstr>Folientitel</vt:lpstr>
      </vt:variant>
      <vt:variant>
        <vt:i4>16</vt:i4>
      </vt:variant>
      <vt:variant>
        <vt:lpstr>Zielgruppenorientierte Präsentationen</vt:lpstr>
      </vt:variant>
      <vt:variant>
        <vt:i4>1</vt:i4>
      </vt:variant>
    </vt:vector>
  </HeadingPairs>
  <TitlesOfParts>
    <vt:vector size="25" baseType="lpstr">
      <vt:lpstr>Arial</vt:lpstr>
      <vt:lpstr>Calibri</vt:lpstr>
      <vt:lpstr>Syntax</vt:lpstr>
      <vt:lpstr>Times</vt:lpstr>
      <vt:lpstr>TKTypeMedium</vt:lpstr>
      <vt:lpstr>Wingdings</vt:lpstr>
      <vt:lpstr>Leere Präsentation</vt:lpstr>
      <vt:lpstr>wpcl1_Leere Präsentation</vt:lpstr>
      <vt:lpstr>Business Intelligence 1 (Informationsmanagement)</vt:lpstr>
      <vt:lpstr>Klassifizierung am Beispiel Elektrofahrzeug</vt:lpstr>
      <vt:lpstr>Klassifizierung am Beispiel Elektrofahrzeug</vt:lpstr>
      <vt:lpstr>Klassifizierung am Beispiel Elektrofahrzeug</vt:lpstr>
      <vt:lpstr>Klassifizierung am Beispiel Elektrofahrzeug</vt:lpstr>
      <vt:lpstr>Klassifizierung am Beispiel Elektrofahrzeug</vt:lpstr>
      <vt:lpstr>Klassifizierung am Beispiel Elektrofahrzeug</vt:lpstr>
      <vt:lpstr>Klassifizierung am Beispiel Elektrofahrzeug</vt:lpstr>
      <vt:lpstr>Klassifizierung am Beispiel Elektrofahrzeug</vt:lpstr>
      <vt:lpstr>Klassifizierung am Beispiel Elektrofahrzeug</vt:lpstr>
      <vt:lpstr>Klassifizierung am Beispiel Elektrofahrzeug</vt:lpstr>
      <vt:lpstr>Klassifizierung am Beispiel Elektrofahrzeug</vt:lpstr>
      <vt:lpstr>Klassifizierung am Beispiel Elektrofahrzeug</vt:lpstr>
      <vt:lpstr>Klassifizierung am Beispiel Elektrofahrzeug</vt:lpstr>
      <vt:lpstr>Klassifizierung am Beispiel Elektrofahrzeug</vt:lpstr>
      <vt:lpstr>Klassifizierung am Beispiel Elektrofahrzeug</vt:lpstr>
      <vt:lpstr>Mustermann1</vt:lpstr>
    </vt:vector>
  </TitlesOfParts>
  <Company>Susanne Hamp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achhochschule Südwestfalen</dc:title>
  <dc:creator>Susanne Hampe</dc:creator>
  <cp:lastModifiedBy>Sascha Plate</cp:lastModifiedBy>
  <cp:revision>620</cp:revision>
  <cp:lastPrinted>2018-04-09T08:21:03Z</cp:lastPrinted>
  <dcterms:created xsi:type="dcterms:W3CDTF">2010-04-29T12:39:23Z</dcterms:created>
  <dcterms:modified xsi:type="dcterms:W3CDTF">2022-01-03T20:03:38Z</dcterms:modified>
</cp:coreProperties>
</file>